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.xml" ContentType="application/vnd.openxmlformats-officedocument.drawingml.chart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5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harts/chart5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6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8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9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0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charts/chart6.xml" ContentType="application/vnd.openxmlformats-officedocument.drawingml.chart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2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3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charts/chart15.xml" ContentType="application/vnd.openxmlformats-officedocument.drawingml.chart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17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4"/>
  </p:sldMasterIdLst>
  <p:notesMasterIdLst>
    <p:notesMasterId r:id="rId34"/>
  </p:notesMasterIdLst>
  <p:handoutMasterIdLst>
    <p:handoutMasterId r:id="rId35"/>
  </p:handoutMasterIdLst>
  <p:sldIdLst>
    <p:sldId id="1432" r:id="rId5"/>
    <p:sldId id="1431" r:id="rId6"/>
    <p:sldId id="1418" r:id="rId7"/>
    <p:sldId id="1420" r:id="rId8"/>
    <p:sldId id="1421" r:id="rId9"/>
    <p:sldId id="1416" r:id="rId10"/>
    <p:sldId id="1373" r:id="rId11"/>
    <p:sldId id="1417" r:id="rId12"/>
    <p:sldId id="1433" r:id="rId13"/>
    <p:sldId id="1422" r:id="rId14"/>
    <p:sldId id="1419" r:id="rId15"/>
    <p:sldId id="1412" r:id="rId16"/>
    <p:sldId id="1435" r:id="rId17"/>
    <p:sldId id="1436" r:id="rId18"/>
    <p:sldId id="1437" r:id="rId19"/>
    <p:sldId id="1423" r:id="rId20"/>
    <p:sldId id="1371" r:id="rId21"/>
    <p:sldId id="1383" r:id="rId22"/>
    <p:sldId id="1345" r:id="rId23"/>
    <p:sldId id="1388" r:id="rId24"/>
    <p:sldId id="1424" r:id="rId25"/>
    <p:sldId id="1385" r:id="rId26"/>
    <p:sldId id="1386" r:id="rId27"/>
    <p:sldId id="1376" r:id="rId28"/>
    <p:sldId id="1398" r:id="rId29"/>
    <p:sldId id="1425" r:id="rId30"/>
    <p:sldId id="1396" r:id="rId31"/>
    <p:sldId id="1414" r:id="rId32"/>
    <p:sldId id="1356" r:id="rId33"/>
  </p:sldIdLst>
  <p:sldSz cx="12192000" cy="6858000"/>
  <p:notesSz cx="6797675" cy="9872663"/>
  <p:custDataLst>
    <p:tags r:id="rId36"/>
  </p:custDataLst>
  <p:defaultTextStyle>
    <a:defPPr>
      <a:defRPr lang="en-US"/>
    </a:defPPr>
    <a:lvl1pPr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609585"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1219170"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828754"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2438339" algn="l" defTabSz="609585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3047924" algn="l" defTabSz="609585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3657509" algn="l" defTabSz="609585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4267093" algn="l" defTabSz="609585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4876678" algn="l" defTabSz="609585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pos="347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73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Óttar Snædal" initials="ÓS" lastIdx="5" clrIdx="0">
    <p:extLst>
      <p:ext uri="{19B8F6BF-5375-455C-9EA6-DF929625EA0E}">
        <p15:presenceInfo xmlns:p15="http://schemas.microsoft.com/office/powerpoint/2012/main" userId="S-1-5-21-1275783345-2253873932-3616901498-3325" providerId="AD"/>
      </p:ext>
    </p:extLst>
  </p:cmAuthor>
  <p:cmAuthor id="2" name="Ásdís Kristjánsdóttir" initials="ÁK" lastIdx="3" clrIdx="1">
    <p:extLst>
      <p:ext uri="{19B8F6BF-5375-455C-9EA6-DF929625EA0E}">
        <p15:presenceInfo xmlns:p15="http://schemas.microsoft.com/office/powerpoint/2012/main" userId="S-1-5-21-1275783345-2253873932-3616901498-3278" providerId="AD"/>
      </p:ext>
    </p:extLst>
  </p:cmAuthor>
  <p:cmAuthor id="3" name="Tryggvi Másson" initials="TM" lastIdx="1" clrIdx="2">
    <p:extLst>
      <p:ext uri="{19B8F6BF-5375-455C-9EA6-DF929625EA0E}">
        <p15:presenceInfo xmlns:p15="http://schemas.microsoft.com/office/powerpoint/2012/main" userId="S-1-5-21-1275783345-2253873932-3616901498-38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656"/>
    <a:srgbClr val="E30613"/>
    <a:srgbClr val="7EB6CA"/>
    <a:srgbClr val="398DB1"/>
    <a:srgbClr val="B5D5E2"/>
    <a:srgbClr val="84772B"/>
    <a:srgbClr val="B7CD2D"/>
    <a:srgbClr val="00A0E0"/>
    <a:srgbClr val="FFFFFF"/>
    <a:srgbClr val="D6D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81B685-71F3-45B4-A2A1-A100D3AA6A24}" v="1" dt="2019-04-08T09:34:16.867"/>
    <p1510:client id="{E03AE0C9-ECA5-4253-97C1-827A3C0E16B5}" v="1" dt="2019-04-08T10:51:26.0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82807" autoAdjust="0"/>
  </p:normalViewPr>
  <p:slideViewPr>
    <p:cSldViewPr snapToGrid="0">
      <p:cViewPr varScale="1">
        <p:scale>
          <a:sx n="63" d="100"/>
          <a:sy n="63" d="100"/>
        </p:scale>
        <p:origin x="798" y="108"/>
      </p:cViewPr>
      <p:guideLst>
        <p:guide orient="horz" pos="799"/>
        <p:guide pos="347"/>
        <p:guide orient="horz" pos="3974"/>
        <p:guide pos="73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401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795868772782502E-2"/>
          <c:y val="3.4620505992010657E-2"/>
          <c:w val="0.9684082624544349"/>
          <c:h val="0.9307589880159787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 w="3175" algn="ctr">
              <a:solidFill>
                <a:schemeClr val="accent3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68C-491D-94D7-649F6A21C58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68C-491D-94D7-649F6A21C58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68C-491D-94D7-649F6A21C58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68C-491D-94D7-649F6A21C5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7</c:v>
                </c:pt>
                <c:pt idx="1">
                  <c:v>24</c:v>
                </c:pt>
                <c:pt idx="2">
                  <c:v>24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8C-491D-94D7-649F6A21C587}"/>
            </c:ext>
          </c:extLst>
        </c:ser>
        <c:ser>
          <c:idx val="1"/>
          <c:order val="1"/>
          <c:spPr>
            <a:solidFill>
              <a:schemeClr val="accent5"/>
            </a:solidFill>
            <a:ln w="3175" algn="ctr">
              <a:solidFill>
                <a:schemeClr val="accent5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68C-491D-94D7-649F6A21C58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68C-491D-94D7-649F6A21C5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17</c:v>
                </c:pt>
                <c:pt idx="1">
                  <c:v>18</c:v>
                </c:pt>
                <c:pt idx="2">
                  <c:v>15.75</c:v>
                </c:pt>
                <c:pt idx="3">
                  <c:v>17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68C-491D-94D7-649F6A21C5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15663128"/>
        <c:axId val="1"/>
      </c:barChart>
      <c:catAx>
        <c:axId val="13156631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156631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040431266846361E-2"/>
          <c:y val="2.1720969089390141E-2"/>
          <c:w val="0.92991913746630728"/>
          <c:h val="0.9565580618212197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E95-4B51-BBBB-862F4F273A38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7.6</c:v>
                </c:pt>
                <c:pt idx="1">
                  <c:v>2.6</c:v>
                </c:pt>
                <c:pt idx="2">
                  <c:v>1.8</c:v>
                </c:pt>
                <c:pt idx="3">
                  <c:v>1.6</c:v>
                </c:pt>
                <c:pt idx="4">
                  <c:v>1.6</c:v>
                </c:pt>
                <c:pt idx="5">
                  <c:v>1.6</c:v>
                </c:pt>
                <c:pt idx="6">
                  <c:v>1.6</c:v>
                </c:pt>
                <c:pt idx="7">
                  <c:v>2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95-4B51-BBBB-862F4F273A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51181192"/>
        <c:axId val="1"/>
      </c:barChart>
      <c:catAx>
        <c:axId val="125118119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.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511811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383177570093462E-2"/>
          <c:y val="6.6838046272493568E-2"/>
          <c:w val="0.92523364485981308"/>
          <c:h val="0.866323907455012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3.2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DD-4061-9DDD-768395DE3D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6428647"/>
        <c:axId val="1"/>
      </c:barChart>
      <c:catAx>
        <c:axId val="764286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.3E-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64286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383177570093462E-2"/>
          <c:y val="6.6838046272493568E-2"/>
          <c:w val="0.92523364485981308"/>
          <c:h val="0.866323907455012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4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C1-475B-AB94-17BD91701D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6418807"/>
        <c:axId val="1"/>
      </c:barChart>
      <c:catAx>
        <c:axId val="764188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.3E-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64188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383177570093462E-2"/>
          <c:y val="6.6838046272493568E-2"/>
          <c:w val="0.92523364485981308"/>
          <c:h val="0.866323907455012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4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83-4E0C-A128-938B9CC4D5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6434223"/>
        <c:axId val="1"/>
      </c:barChart>
      <c:catAx>
        <c:axId val="764342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.3E-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64342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383177570093462E-2"/>
          <c:y val="6.6838046272493568E-2"/>
          <c:w val="0.92523364485981308"/>
          <c:h val="0.866323907455012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6.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10-4AF3-A8D6-F59D954B8B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6436191"/>
        <c:axId val="1"/>
      </c:barChart>
      <c:catAx>
        <c:axId val="764361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.3E-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64361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456464910516791E-2"/>
          <c:y val="2.3722627737226276E-2"/>
          <c:w val="0.97908707017896646"/>
          <c:h val="0.9525547445255474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9A1-4EE0-A805-4833C3046E84}"/>
              </c:ext>
            </c:extLst>
          </c:dPt>
          <c:dPt>
            <c:idx val="5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9A1-4EE0-A805-4833C3046E84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15754.893617021269</c:v>
                </c:pt>
                <c:pt idx="1">
                  <c:v>15754.893617021269</c:v>
                </c:pt>
                <c:pt idx="2">
                  <c:v>58504.893617021269</c:v>
                </c:pt>
                <c:pt idx="3">
                  <c:v>98554.893617021269</c:v>
                </c:pt>
                <c:pt idx="4">
                  <c:v>127854.89361702127</c:v>
                </c:pt>
                <c:pt idx="5">
                  <c:v>158154.89361702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9A1-4EE0-A805-4833C3046E84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9A1-4EE0-A805-4833C3046E8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E9A1-4EE0-A805-4833C3046E84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&quot;+&quot;#,##0;&quot;-&quot;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Calibri Light"/>
                      <a:ea typeface="ＭＳ Ｐゴシック"/>
                      <a:cs typeface="Calibri Light"/>
                      <a:sym typeface="Calibri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9A1-4EE0-A805-4833C3046E8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&quot;+&quot;#,##0;&quot;-&quot;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Calibri Light"/>
                      <a:ea typeface="Calibri Light"/>
                      <a:cs typeface="Calibri Light"/>
                      <a:sym typeface="Calibri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9A1-4EE0-A805-4833C3046E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1">
                  <c:v>15000</c:v>
                </c:pt>
                <c:pt idx="2">
                  <c:v>10750</c:v>
                </c:pt>
                <c:pt idx="3">
                  <c:v>5300</c:v>
                </c:pt>
                <c:pt idx="4">
                  <c:v>5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9A1-4EE0-A805-4833C3046E84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E9A1-4EE0-A805-4833C3046E8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9A1-4EE0-A805-4833C3046E84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&quot;+&quot;#,##0;&quot;-&quot;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Calibri Light"/>
                      <a:ea typeface="Calibri Light"/>
                      <a:cs typeface="Calibri Light"/>
                      <a:sym typeface="Calibri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9A1-4EE0-A805-4833C3046E84}"/>
                </c:ext>
              </c:extLst>
            </c:dLbl>
            <c:dLbl>
              <c:idx val="2"/>
              <c:layout>
                <c:manualLayout>
                  <c:x val="8.2646289965815398E-2"/>
                  <c:y val="0"/>
                </c:manualLayout>
              </c:layout>
              <c:numFmt formatCode="&quot;+&quot;#,##0;&quot;-&quot;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Calibri Light"/>
                      <a:ea typeface="ＭＳ Ｐゴシック"/>
                      <a:cs typeface="Calibri Light"/>
                      <a:sym typeface="Calibri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9A1-4EE0-A805-4833C3046E84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&quot;+&quot;#,##0;&quot;-&quot;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Calibri Light"/>
                      <a:ea typeface="Calibri Light"/>
                      <a:cs typeface="Calibri Light"/>
                      <a:sym typeface="Calibri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9A1-4EE0-A805-4833C3046E8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&quot;+&quot;#,##0;&quot;-&quot;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Calibri Light"/>
                      <a:ea typeface="Calibri Light"/>
                      <a:cs typeface="Calibri Light"/>
                      <a:sym typeface="Calibri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9A1-4EE0-A805-4833C3046E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1">
                  <c:v>10750</c:v>
                </c:pt>
                <c:pt idx="2">
                  <c:v>5300</c:v>
                </c:pt>
                <c:pt idx="3">
                  <c:v>24000</c:v>
                </c:pt>
                <c:pt idx="4">
                  <c:v>2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9A1-4EE0-A805-4833C3046E84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&quot;+&quot;#,##0;&quot;-&quot;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Calibri Light"/>
                      <a:ea typeface="ＭＳ Ｐゴシック"/>
                      <a:cs typeface="Calibri Light"/>
                      <a:sym typeface="Calibri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9A1-4EE0-A805-4833C3046E8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&quot;+&quot;#,##0;&quot;-&quot;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Calibri Light"/>
                      <a:ea typeface="Calibri Light"/>
                      <a:cs typeface="Calibri Light"/>
                      <a:sym typeface="Calibri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9A1-4EE0-A805-4833C3046E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1">
                  <c:v>17000</c:v>
                </c:pt>
                <c:pt idx="2">
                  <c:v>2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9A1-4EE0-A805-4833C3046E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1205216"/>
        <c:axId val="1"/>
      </c:barChart>
      <c:catAx>
        <c:axId val="961205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8154.8936170212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612052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587135788894998E-2"/>
          <c:y val="5.1332675222112531E-2"/>
          <c:w val="0.94282572842221002"/>
          <c:h val="0.897334649555774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3175" algn="ctr">
              <a:solidFill>
                <a:schemeClr val="accent3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8C3-451E-AB18-99138FBB9DC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8C3-451E-AB18-99138FBB9DC2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8C3-451E-AB18-99138FBB9DC2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8C3-451E-AB18-99138FBB9DC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7</c:v>
                </c:pt>
                <c:pt idx="1">
                  <c:v>24</c:v>
                </c:pt>
                <c:pt idx="2">
                  <c:v>24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8C3-451E-AB18-99138FBB9DC2}"/>
            </c:ext>
          </c:extLst>
        </c:ser>
        <c:ser>
          <c:idx val="1"/>
          <c:order val="1"/>
          <c:spPr>
            <a:solidFill>
              <a:srgbClr val="D6D7D9"/>
            </a:solidFill>
            <a:ln w="3175" algn="ctr">
              <a:solidFill>
                <a:srgbClr val="808080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3</c:v>
                </c:pt>
                <c:pt idx="2">
                  <c:v>3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8C3-451E-AB18-99138FBB9D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98628704"/>
        <c:axId val="1"/>
      </c:barChart>
      <c:catAx>
        <c:axId val="8986287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986287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587135788894998E-2"/>
          <c:y val="5.1332675222112531E-2"/>
          <c:w val="0.94282572842221002"/>
          <c:h val="0.897334649555774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3175" algn="ctr">
              <a:solidFill>
                <a:schemeClr val="accent3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D55-4401-9F5F-239E6B97BBA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D55-4401-9F5F-239E6B97BBAD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D55-4401-9F5F-239E6B97BBAD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D55-4401-9F5F-239E6B97BBA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7</c:v>
                </c:pt>
                <c:pt idx="1">
                  <c:v>24</c:v>
                </c:pt>
                <c:pt idx="2">
                  <c:v>24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55-4401-9F5F-239E6B97BBAD}"/>
            </c:ext>
          </c:extLst>
        </c:ser>
        <c:ser>
          <c:idx val="1"/>
          <c:order val="1"/>
          <c:spPr>
            <a:solidFill>
              <a:srgbClr val="D6D7D9"/>
            </a:solidFill>
            <a:ln w="3175" algn="ctr">
              <a:solidFill>
                <a:srgbClr val="808080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D55-4401-9F5F-239E6B97BBAD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D55-4401-9F5F-239E6B97BBAD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D55-4401-9F5F-239E6B97BBA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8</c:v>
                </c:pt>
                <c:pt idx="2">
                  <c:v>8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D55-4401-9F5F-239E6B97BB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16533096"/>
        <c:axId val="1"/>
      </c:barChart>
      <c:catAx>
        <c:axId val="13165330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165330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587135788894998E-2"/>
          <c:y val="5.1332675222112531E-2"/>
          <c:w val="0.94282572842221002"/>
          <c:h val="0.897334649555774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3175" algn="ctr">
              <a:solidFill>
                <a:schemeClr val="accent3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139-40DB-81D9-23450B56B296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139-40DB-81D9-23450B56B296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139-40DB-81D9-23450B56B296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139-40DB-81D9-23450B56B2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7</c:v>
                </c:pt>
                <c:pt idx="1">
                  <c:v>24</c:v>
                </c:pt>
                <c:pt idx="2">
                  <c:v>24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39-40DB-81D9-23450B56B296}"/>
            </c:ext>
          </c:extLst>
        </c:ser>
        <c:ser>
          <c:idx val="1"/>
          <c:order val="1"/>
          <c:spPr>
            <a:solidFill>
              <a:srgbClr val="D6D7D9"/>
            </a:solidFill>
            <a:ln w="3175" algn="ctr">
              <a:solidFill>
                <a:srgbClr val="808080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139-40DB-81D9-23450B56B296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139-40DB-81D9-23450B56B296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139-40DB-81D9-23450B56B2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13</c:v>
                </c:pt>
                <c:pt idx="2">
                  <c:v>13</c:v>
                </c:pt>
                <c:pt idx="3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139-40DB-81D9-23450B56B2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15345592"/>
        <c:axId val="1"/>
      </c:barChart>
      <c:catAx>
        <c:axId val="13153455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153455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184300341296929E-2"/>
          <c:y val="6.25E-2"/>
          <c:w val="0.95563139931740615"/>
          <c:h val="0.8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 w="3175" algn="ctr">
              <a:solidFill>
                <a:schemeClr val="accent5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813-4877-AEF4-F3FAD9125D2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813-4877-AEF4-F3FAD9125D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13-4877-AEF4-F3FAD9125D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38264752"/>
        <c:axId val="1"/>
      </c:barChart>
      <c:catAx>
        <c:axId val="938264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382647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822349570200571"/>
          <c:y val="2.31729055258467E-2"/>
          <c:w val="0.64297994269340975"/>
          <c:h val="0.9536541889483065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 w="12700" algn="ctr">
              <a:solidFill>
                <a:srgbClr val="D6D7D9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358.8110403397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29-45AA-867C-BC2BF4E9DB3B}"/>
            </c:ext>
          </c:extLst>
        </c:ser>
        <c:ser>
          <c:idx val="1"/>
          <c:order val="1"/>
          <c:spPr>
            <a:solidFill>
              <a:schemeClr val="accent5"/>
            </a:solidFill>
            <a:ln w="12700" algn="ctr">
              <a:solidFill>
                <a:schemeClr val="accent5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F29-45AA-867C-BC2BF4E9DB3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76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29-45AA-867C-BC2BF4E9DB3B}"/>
            </c:ext>
          </c:extLst>
        </c:ser>
        <c:ser>
          <c:idx val="2"/>
          <c:order val="2"/>
          <c:spPr>
            <a:solidFill>
              <a:schemeClr val="accent3"/>
            </a:solidFill>
            <a:ln w="12700" algn="ctr">
              <a:solidFill>
                <a:schemeClr val="accent3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F29-45AA-867C-BC2BF4E9DB3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23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29-45AA-867C-BC2BF4E9DB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90110504"/>
        <c:axId val="1"/>
      </c:barChart>
      <c:catAx>
        <c:axId val="8901105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358.81104033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901105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697571743929361E-2"/>
          <c:y val="4.7619047619047616E-2"/>
          <c:w val="0.94260485651214132"/>
          <c:h val="0.904761904761904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3175" algn="ctr">
              <a:solidFill>
                <a:schemeClr val="accent3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Calibri Light"/>
                      <a:ea typeface="ＭＳ Ｐゴシック"/>
                      <a:cs typeface="Calibri Light"/>
                      <a:sym typeface="Calibri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233-4214-AA14-B457C695953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Calibri Light"/>
                      <a:ea typeface="ＭＳ Ｐゴシック"/>
                      <a:cs typeface="Calibri Light"/>
                      <a:sym typeface="Calibri Ligh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233-4214-AA14-B457C695953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9500</c:v>
                </c:pt>
                <c:pt idx="1">
                  <c:v>8900</c:v>
                </c:pt>
                <c:pt idx="2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33-4214-AA14-B457C69595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6357799"/>
        <c:axId val="1"/>
      </c:barChart>
      <c:catAx>
        <c:axId val="763577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63577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802955665024627E-2"/>
          <c:y val="4.7619047619047616E-2"/>
          <c:w val="0.84088669950738915"/>
          <c:h val="0.904761904761904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3175" algn="ctr">
              <a:solidFill>
                <a:schemeClr val="accent3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256-4499-8629-B1AA3F6CE9F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256-4499-8629-B1AA3F6CE9F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4000</c:v>
                </c:pt>
                <c:pt idx="1">
                  <c:v>780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56-4499-8629-B1AA3F6CE9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7382079"/>
        <c:axId val="1"/>
      </c:barChart>
      <c:catAx>
        <c:axId val="4373820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373820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539099333441718E-3"/>
          <c:y val="2.3679417122040074E-2"/>
          <c:w val="0.98309218013331157"/>
          <c:h val="0.95264116575591984"/>
        </c:manualLayout>
      </c:layout>
      <c:scatterChart>
        <c:scatterStyle val="lineMarker"/>
        <c:varyColors val="0"/>
        <c:ser>
          <c:idx val="0"/>
          <c:order val="0"/>
          <c:spPr>
            <a:ln w="7620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CUU$1</c:f>
              <c:numCache>
                <c:formatCode>General</c:formatCode>
                <c:ptCount val="2595"/>
                <c:pt idx="0">
                  <c:v>14613</c:v>
                </c:pt>
                <c:pt idx="1">
                  <c:v>14614</c:v>
                </c:pt>
                <c:pt idx="2">
                  <c:v>14615</c:v>
                </c:pt>
                <c:pt idx="3">
                  <c:v>14616</c:v>
                </c:pt>
                <c:pt idx="4">
                  <c:v>14617</c:v>
                </c:pt>
                <c:pt idx="5">
                  <c:v>14620</c:v>
                </c:pt>
                <c:pt idx="6">
                  <c:v>14621</c:v>
                </c:pt>
                <c:pt idx="7">
                  <c:v>14622</c:v>
                </c:pt>
                <c:pt idx="8">
                  <c:v>14623</c:v>
                </c:pt>
                <c:pt idx="9">
                  <c:v>14624</c:v>
                </c:pt>
                <c:pt idx="10">
                  <c:v>14627</c:v>
                </c:pt>
                <c:pt idx="11">
                  <c:v>14628</c:v>
                </c:pt>
                <c:pt idx="12">
                  <c:v>14629</c:v>
                </c:pt>
                <c:pt idx="13">
                  <c:v>14630</c:v>
                </c:pt>
                <c:pt idx="14">
                  <c:v>14631</c:v>
                </c:pt>
                <c:pt idx="15">
                  <c:v>14634</c:v>
                </c:pt>
                <c:pt idx="16">
                  <c:v>14635</c:v>
                </c:pt>
                <c:pt idx="17">
                  <c:v>14636</c:v>
                </c:pt>
                <c:pt idx="18">
                  <c:v>14637</c:v>
                </c:pt>
                <c:pt idx="19">
                  <c:v>14638</c:v>
                </c:pt>
                <c:pt idx="20">
                  <c:v>14641</c:v>
                </c:pt>
                <c:pt idx="21">
                  <c:v>14642</c:v>
                </c:pt>
                <c:pt idx="22">
                  <c:v>14643</c:v>
                </c:pt>
                <c:pt idx="23">
                  <c:v>14644</c:v>
                </c:pt>
                <c:pt idx="24">
                  <c:v>14645</c:v>
                </c:pt>
                <c:pt idx="25">
                  <c:v>14648</c:v>
                </c:pt>
                <c:pt idx="26">
                  <c:v>14649</c:v>
                </c:pt>
                <c:pt idx="27">
                  <c:v>14650</c:v>
                </c:pt>
                <c:pt idx="28">
                  <c:v>14651</c:v>
                </c:pt>
                <c:pt idx="29">
                  <c:v>14652</c:v>
                </c:pt>
                <c:pt idx="30">
                  <c:v>14655</c:v>
                </c:pt>
                <c:pt idx="31">
                  <c:v>14656</c:v>
                </c:pt>
                <c:pt idx="32">
                  <c:v>14657</c:v>
                </c:pt>
                <c:pt idx="33">
                  <c:v>14658</c:v>
                </c:pt>
                <c:pt idx="34">
                  <c:v>14659</c:v>
                </c:pt>
                <c:pt idx="35">
                  <c:v>14662</c:v>
                </c:pt>
                <c:pt idx="36">
                  <c:v>14663</c:v>
                </c:pt>
                <c:pt idx="37">
                  <c:v>14664</c:v>
                </c:pt>
                <c:pt idx="38">
                  <c:v>14665</c:v>
                </c:pt>
                <c:pt idx="39">
                  <c:v>14666</c:v>
                </c:pt>
                <c:pt idx="40">
                  <c:v>14669</c:v>
                </c:pt>
                <c:pt idx="41">
                  <c:v>14670</c:v>
                </c:pt>
                <c:pt idx="42">
                  <c:v>14671</c:v>
                </c:pt>
                <c:pt idx="43">
                  <c:v>14672</c:v>
                </c:pt>
                <c:pt idx="44">
                  <c:v>14673</c:v>
                </c:pt>
                <c:pt idx="45">
                  <c:v>14676</c:v>
                </c:pt>
                <c:pt idx="46">
                  <c:v>14677</c:v>
                </c:pt>
                <c:pt idx="47">
                  <c:v>14678</c:v>
                </c:pt>
                <c:pt idx="48">
                  <c:v>14679</c:v>
                </c:pt>
                <c:pt idx="49">
                  <c:v>14680</c:v>
                </c:pt>
                <c:pt idx="50">
                  <c:v>14683</c:v>
                </c:pt>
                <c:pt idx="51">
                  <c:v>14684</c:v>
                </c:pt>
                <c:pt idx="52">
                  <c:v>14685</c:v>
                </c:pt>
                <c:pt idx="53">
                  <c:v>14686</c:v>
                </c:pt>
                <c:pt idx="54">
                  <c:v>14687</c:v>
                </c:pt>
                <c:pt idx="55">
                  <c:v>14690</c:v>
                </c:pt>
                <c:pt idx="56">
                  <c:v>14691</c:v>
                </c:pt>
                <c:pt idx="57">
                  <c:v>14692</c:v>
                </c:pt>
                <c:pt idx="58">
                  <c:v>14693</c:v>
                </c:pt>
                <c:pt idx="59">
                  <c:v>14694</c:v>
                </c:pt>
                <c:pt idx="60">
                  <c:v>14697</c:v>
                </c:pt>
                <c:pt idx="61">
                  <c:v>14698</c:v>
                </c:pt>
                <c:pt idx="62">
                  <c:v>14699</c:v>
                </c:pt>
                <c:pt idx="63">
                  <c:v>14705</c:v>
                </c:pt>
                <c:pt idx="64">
                  <c:v>14706</c:v>
                </c:pt>
                <c:pt idx="65">
                  <c:v>14707</c:v>
                </c:pt>
                <c:pt idx="66">
                  <c:v>14708</c:v>
                </c:pt>
                <c:pt idx="67">
                  <c:v>14711</c:v>
                </c:pt>
                <c:pt idx="68">
                  <c:v>14712</c:v>
                </c:pt>
                <c:pt idx="69">
                  <c:v>14713</c:v>
                </c:pt>
                <c:pt idx="70">
                  <c:v>14714</c:v>
                </c:pt>
                <c:pt idx="71">
                  <c:v>14715</c:v>
                </c:pt>
                <c:pt idx="72">
                  <c:v>14718</c:v>
                </c:pt>
                <c:pt idx="73">
                  <c:v>14719</c:v>
                </c:pt>
                <c:pt idx="74">
                  <c:v>14720</c:v>
                </c:pt>
                <c:pt idx="75">
                  <c:v>14722</c:v>
                </c:pt>
                <c:pt idx="76">
                  <c:v>14725</c:v>
                </c:pt>
                <c:pt idx="77">
                  <c:v>14726</c:v>
                </c:pt>
                <c:pt idx="78">
                  <c:v>14727</c:v>
                </c:pt>
                <c:pt idx="79">
                  <c:v>14728</c:v>
                </c:pt>
                <c:pt idx="80">
                  <c:v>14729</c:v>
                </c:pt>
                <c:pt idx="81">
                  <c:v>14732</c:v>
                </c:pt>
                <c:pt idx="82">
                  <c:v>14733</c:v>
                </c:pt>
                <c:pt idx="83">
                  <c:v>14734</c:v>
                </c:pt>
                <c:pt idx="84">
                  <c:v>14735</c:v>
                </c:pt>
                <c:pt idx="85">
                  <c:v>14736</c:v>
                </c:pt>
                <c:pt idx="86">
                  <c:v>14739</c:v>
                </c:pt>
                <c:pt idx="87">
                  <c:v>14740</c:v>
                </c:pt>
                <c:pt idx="88">
                  <c:v>14741</c:v>
                </c:pt>
                <c:pt idx="89">
                  <c:v>14743</c:v>
                </c:pt>
                <c:pt idx="90">
                  <c:v>14746</c:v>
                </c:pt>
                <c:pt idx="91">
                  <c:v>14747</c:v>
                </c:pt>
                <c:pt idx="92">
                  <c:v>14748</c:v>
                </c:pt>
                <c:pt idx="93">
                  <c:v>14749</c:v>
                </c:pt>
                <c:pt idx="94">
                  <c:v>14750</c:v>
                </c:pt>
                <c:pt idx="95">
                  <c:v>14754</c:v>
                </c:pt>
                <c:pt idx="96">
                  <c:v>14755</c:v>
                </c:pt>
                <c:pt idx="97">
                  <c:v>14756</c:v>
                </c:pt>
                <c:pt idx="98">
                  <c:v>14757</c:v>
                </c:pt>
                <c:pt idx="99">
                  <c:v>14760</c:v>
                </c:pt>
                <c:pt idx="100">
                  <c:v>14761</c:v>
                </c:pt>
                <c:pt idx="101">
                  <c:v>14762</c:v>
                </c:pt>
                <c:pt idx="102">
                  <c:v>14763</c:v>
                </c:pt>
                <c:pt idx="103">
                  <c:v>14764</c:v>
                </c:pt>
                <c:pt idx="104">
                  <c:v>14767</c:v>
                </c:pt>
                <c:pt idx="105">
                  <c:v>14768</c:v>
                </c:pt>
                <c:pt idx="106">
                  <c:v>14769</c:v>
                </c:pt>
                <c:pt idx="107">
                  <c:v>14770</c:v>
                </c:pt>
                <c:pt idx="108">
                  <c:v>14771</c:v>
                </c:pt>
                <c:pt idx="109">
                  <c:v>14774</c:v>
                </c:pt>
                <c:pt idx="110">
                  <c:v>14775</c:v>
                </c:pt>
                <c:pt idx="111">
                  <c:v>14776</c:v>
                </c:pt>
                <c:pt idx="112">
                  <c:v>14778</c:v>
                </c:pt>
                <c:pt idx="113">
                  <c:v>14781</c:v>
                </c:pt>
                <c:pt idx="114">
                  <c:v>14782</c:v>
                </c:pt>
                <c:pt idx="115">
                  <c:v>14783</c:v>
                </c:pt>
                <c:pt idx="116">
                  <c:v>14784</c:v>
                </c:pt>
                <c:pt idx="117">
                  <c:v>14785</c:v>
                </c:pt>
                <c:pt idx="118">
                  <c:v>14788</c:v>
                </c:pt>
                <c:pt idx="119">
                  <c:v>14789</c:v>
                </c:pt>
                <c:pt idx="120">
                  <c:v>14790</c:v>
                </c:pt>
                <c:pt idx="121">
                  <c:v>14791</c:v>
                </c:pt>
                <c:pt idx="122">
                  <c:v>14792</c:v>
                </c:pt>
                <c:pt idx="123">
                  <c:v>14795</c:v>
                </c:pt>
                <c:pt idx="124">
                  <c:v>14796</c:v>
                </c:pt>
                <c:pt idx="125">
                  <c:v>14797</c:v>
                </c:pt>
                <c:pt idx="126">
                  <c:v>14798</c:v>
                </c:pt>
                <c:pt idx="127">
                  <c:v>14799</c:v>
                </c:pt>
                <c:pt idx="128">
                  <c:v>14802</c:v>
                </c:pt>
                <c:pt idx="129">
                  <c:v>14803</c:v>
                </c:pt>
                <c:pt idx="130">
                  <c:v>14804</c:v>
                </c:pt>
                <c:pt idx="131">
                  <c:v>14805</c:v>
                </c:pt>
                <c:pt idx="132">
                  <c:v>14806</c:v>
                </c:pt>
                <c:pt idx="133">
                  <c:v>14809</c:v>
                </c:pt>
                <c:pt idx="134">
                  <c:v>14810</c:v>
                </c:pt>
                <c:pt idx="135">
                  <c:v>14811</c:v>
                </c:pt>
                <c:pt idx="136">
                  <c:v>14812</c:v>
                </c:pt>
                <c:pt idx="137">
                  <c:v>14813</c:v>
                </c:pt>
                <c:pt idx="138">
                  <c:v>14816</c:v>
                </c:pt>
                <c:pt idx="139">
                  <c:v>14817</c:v>
                </c:pt>
                <c:pt idx="140">
                  <c:v>14818</c:v>
                </c:pt>
                <c:pt idx="141">
                  <c:v>14819</c:v>
                </c:pt>
                <c:pt idx="142">
                  <c:v>14820</c:v>
                </c:pt>
                <c:pt idx="143">
                  <c:v>14824</c:v>
                </c:pt>
                <c:pt idx="144">
                  <c:v>14825</c:v>
                </c:pt>
                <c:pt idx="145">
                  <c:v>14826</c:v>
                </c:pt>
                <c:pt idx="146">
                  <c:v>14827</c:v>
                </c:pt>
                <c:pt idx="147">
                  <c:v>14830</c:v>
                </c:pt>
                <c:pt idx="148">
                  <c:v>14831</c:v>
                </c:pt>
                <c:pt idx="149">
                  <c:v>14832</c:v>
                </c:pt>
                <c:pt idx="150">
                  <c:v>14833</c:v>
                </c:pt>
                <c:pt idx="151">
                  <c:v>14834</c:v>
                </c:pt>
                <c:pt idx="152">
                  <c:v>14837</c:v>
                </c:pt>
                <c:pt idx="153">
                  <c:v>14838</c:v>
                </c:pt>
                <c:pt idx="154">
                  <c:v>14839</c:v>
                </c:pt>
                <c:pt idx="155">
                  <c:v>14840</c:v>
                </c:pt>
                <c:pt idx="156">
                  <c:v>14841</c:v>
                </c:pt>
                <c:pt idx="157">
                  <c:v>14844</c:v>
                </c:pt>
                <c:pt idx="158">
                  <c:v>14845</c:v>
                </c:pt>
                <c:pt idx="159">
                  <c:v>14846</c:v>
                </c:pt>
                <c:pt idx="160">
                  <c:v>14847</c:v>
                </c:pt>
                <c:pt idx="161">
                  <c:v>14848</c:v>
                </c:pt>
                <c:pt idx="162">
                  <c:v>14851</c:v>
                </c:pt>
                <c:pt idx="163">
                  <c:v>14852</c:v>
                </c:pt>
                <c:pt idx="164">
                  <c:v>14853</c:v>
                </c:pt>
                <c:pt idx="165">
                  <c:v>14854</c:v>
                </c:pt>
                <c:pt idx="166">
                  <c:v>14855</c:v>
                </c:pt>
                <c:pt idx="167">
                  <c:v>14858</c:v>
                </c:pt>
                <c:pt idx="168">
                  <c:v>14859</c:v>
                </c:pt>
                <c:pt idx="169">
                  <c:v>14860</c:v>
                </c:pt>
                <c:pt idx="170">
                  <c:v>14861</c:v>
                </c:pt>
                <c:pt idx="171">
                  <c:v>14862</c:v>
                </c:pt>
                <c:pt idx="172">
                  <c:v>14865</c:v>
                </c:pt>
                <c:pt idx="173">
                  <c:v>14866</c:v>
                </c:pt>
                <c:pt idx="174">
                  <c:v>14867</c:v>
                </c:pt>
                <c:pt idx="175">
                  <c:v>14868</c:v>
                </c:pt>
                <c:pt idx="176">
                  <c:v>14869</c:v>
                </c:pt>
                <c:pt idx="177">
                  <c:v>14872</c:v>
                </c:pt>
                <c:pt idx="178">
                  <c:v>14873</c:v>
                </c:pt>
                <c:pt idx="179">
                  <c:v>14874</c:v>
                </c:pt>
                <c:pt idx="180">
                  <c:v>14875</c:v>
                </c:pt>
                <c:pt idx="181">
                  <c:v>14876</c:v>
                </c:pt>
                <c:pt idx="182">
                  <c:v>14879</c:v>
                </c:pt>
                <c:pt idx="183">
                  <c:v>14880</c:v>
                </c:pt>
                <c:pt idx="184">
                  <c:v>14881</c:v>
                </c:pt>
                <c:pt idx="185">
                  <c:v>14882</c:v>
                </c:pt>
                <c:pt idx="186">
                  <c:v>14883</c:v>
                </c:pt>
                <c:pt idx="187">
                  <c:v>14886</c:v>
                </c:pt>
                <c:pt idx="188">
                  <c:v>14887</c:v>
                </c:pt>
                <c:pt idx="189">
                  <c:v>14888</c:v>
                </c:pt>
                <c:pt idx="190">
                  <c:v>14889</c:v>
                </c:pt>
                <c:pt idx="191">
                  <c:v>14890</c:v>
                </c:pt>
                <c:pt idx="192">
                  <c:v>14893</c:v>
                </c:pt>
                <c:pt idx="193">
                  <c:v>14894</c:v>
                </c:pt>
                <c:pt idx="194">
                  <c:v>14895</c:v>
                </c:pt>
                <c:pt idx="195">
                  <c:v>14896</c:v>
                </c:pt>
                <c:pt idx="196">
                  <c:v>14897</c:v>
                </c:pt>
                <c:pt idx="197">
                  <c:v>14900</c:v>
                </c:pt>
                <c:pt idx="198">
                  <c:v>14901</c:v>
                </c:pt>
                <c:pt idx="199">
                  <c:v>14902</c:v>
                </c:pt>
                <c:pt idx="200">
                  <c:v>14903</c:v>
                </c:pt>
                <c:pt idx="201">
                  <c:v>14904</c:v>
                </c:pt>
                <c:pt idx="202">
                  <c:v>14907</c:v>
                </c:pt>
                <c:pt idx="203">
                  <c:v>14908</c:v>
                </c:pt>
                <c:pt idx="204">
                  <c:v>14909</c:v>
                </c:pt>
                <c:pt idx="205">
                  <c:v>14910</c:v>
                </c:pt>
                <c:pt idx="206">
                  <c:v>14911</c:v>
                </c:pt>
                <c:pt idx="207">
                  <c:v>14914</c:v>
                </c:pt>
                <c:pt idx="208">
                  <c:v>14915</c:v>
                </c:pt>
                <c:pt idx="209">
                  <c:v>14916</c:v>
                </c:pt>
                <c:pt idx="210">
                  <c:v>14917</c:v>
                </c:pt>
                <c:pt idx="211">
                  <c:v>14918</c:v>
                </c:pt>
                <c:pt idx="212">
                  <c:v>14921</c:v>
                </c:pt>
                <c:pt idx="213">
                  <c:v>14922</c:v>
                </c:pt>
                <c:pt idx="214">
                  <c:v>14923</c:v>
                </c:pt>
                <c:pt idx="215">
                  <c:v>14924</c:v>
                </c:pt>
                <c:pt idx="216">
                  <c:v>14925</c:v>
                </c:pt>
                <c:pt idx="217">
                  <c:v>14928</c:v>
                </c:pt>
                <c:pt idx="218">
                  <c:v>14929</c:v>
                </c:pt>
                <c:pt idx="219">
                  <c:v>14930</c:v>
                </c:pt>
                <c:pt idx="220">
                  <c:v>14931</c:v>
                </c:pt>
                <c:pt idx="221">
                  <c:v>14932</c:v>
                </c:pt>
                <c:pt idx="222">
                  <c:v>14935</c:v>
                </c:pt>
                <c:pt idx="223">
                  <c:v>14936</c:v>
                </c:pt>
                <c:pt idx="224">
                  <c:v>14937</c:v>
                </c:pt>
                <c:pt idx="225">
                  <c:v>14938</c:v>
                </c:pt>
                <c:pt idx="226">
                  <c:v>14939</c:v>
                </c:pt>
                <c:pt idx="227">
                  <c:v>14942</c:v>
                </c:pt>
                <c:pt idx="228">
                  <c:v>14943</c:v>
                </c:pt>
                <c:pt idx="229">
                  <c:v>14944</c:v>
                </c:pt>
                <c:pt idx="230">
                  <c:v>14945</c:v>
                </c:pt>
                <c:pt idx="231">
                  <c:v>14946</c:v>
                </c:pt>
                <c:pt idx="232">
                  <c:v>14949</c:v>
                </c:pt>
                <c:pt idx="233">
                  <c:v>14950</c:v>
                </c:pt>
                <c:pt idx="234">
                  <c:v>14951</c:v>
                </c:pt>
                <c:pt idx="235">
                  <c:v>14952</c:v>
                </c:pt>
                <c:pt idx="236">
                  <c:v>14953</c:v>
                </c:pt>
                <c:pt idx="237">
                  <c:v>14956</c:v>
                </c:pt>
                <c:pt idx="238">
                  <c:v>14957</c:v>
                </c:pt>
                <c:pt idx="239">
                  <c:v>14958</c:v>
                </c:pt>
                <c:pt idx="240">
                  <c:v>14959</c:v>
                </c:pt>
                <c:pt idx="241">
                  <c:v>14960</c:v>
                </c:pt>
                <c:pt idx="242">
                  <c:v>14963</c:v>
                </c:pt>
                <c:pt idx="243">
                  <c:v>14964</c:v>
                </c:pt>
                <c:pt idx="244">
                  <c:v>14965</c:v>
                </c:pt>
                <c:pt idx="245">
                  <c:v>14966</c:v>
                </c:pt>
                <c:pt idx="246">
                  <c:v>14970</c:v>
                </c:pt>
                <c:pt idx="247">
                  <c:v>14971</c:v>
                </c:pt>
                <c:pt idx="248">
                  <c:v>14972</c:v>
                </c:pt>
                <c:pt idx="249">
                  <c:v>14973</c:v>
                </c:pt>
                <c:pt idx="250">
                  <c:v>14974</c:v>
                </c:pt>
                <c:pt idx="251">
                  <c:v>14977</c:v>
                </c:pt>
                <c:pt idx="252">
                  <c:v>14978</c:v>
                </c:pt>
                <c:pt idx="253">
                  <c:v>14979</c:v>
                </c:pt>
                <c:pt idx="254">
                  <c:v>14980</c:v>
                </c:pt>
                <c:pt idx="255">
                  <c:v>14981</c:v>
                </c:pt>
                <c:pt idx="256">
                  <c:v>14984</c:v>
                </c:pt>
                <c:pt idx="257">
                  <c:v>14985</c:v>
                </c:pt>
                <c:pt idx="258">
                  <c:v>14986</c:v>
                </c:pt>
                <c:pt idx="259">
                  <c:v>14987</c:v>
                </c:pt>
                <c:pt idx="260">
                  <c:v>14988</c:v>
                </c:pt>
                <c:pt idx="261">
                  <c:v>14991</c:v>
                </c:pt>
                <c:pt idx="262">
                  <c:v>14992</c:v>
                </c:pt>
                <c:pt idx="263">
                  <c:v>14993</c:v>
                </c:pt>
                <c:pt idx="264">
                  <c:v>14994</c:v>
                </c:pt>
                <c:pt idx="265">
                  <c:v>14995</c:v>
                </c:pt>
                <c:pt idx="266">
                  <c:v>14998</c:v>
                </c:pt>
                <c:pt idx="267">
                  <c:v>14999</c:v>
                </c:pt>
                <c:pt idx="268">
                  <c:v>15000</c:v>
                </c:pt>
                <c:pt idx="269">
                  <c:v>15001</c:v>
                </c:pt>
                <c:pt idx="270">
                  <c:v>15002</c:v>
                </c:pt>
                <c:pt idx="271">
                  <c:v>15005</c:v>
                </c:pt>
                <c:pt idx="272">
                  <c:v>15006</c:v>
                </c:pt>
                <c:pt idx="273">
                  <c:v>15007</c:v>
                </c:pt>
                <c:pt idx="274">
                  <c:v>15008</c:v>
                </c:pt>
                <c:pt idx="275">
                  <c:v>15009</c:v>
                </c:pt>
                <c:pt idx="276">
                  <c:v>15012</c:v>
                </c:pt>
                <c:pt idx="277">
                  <c:v>15013</c:v>
                </c:pt>
                <c:pt idx="278">
                  <c:v>15014</c:v>
                </c:pt>
                <c:pt idx="279">
                  <c:v>15015</c:v>
                </c:pt>
                <c:pt idx="280">
                  <c:v>15016</c:v>
                </c:pt>
                <c:pt idx="281">
                  <c:v>15019</c:v>
                </c:pt>
                <c:pt idx="282">
                  <c:v>15020</c:v>
                </c:pt>
                <c:pt idx="283">
                  <c:v>15021</c:v>
                </c:pt>
                <c:pt idx="284">
                  <c:v>15022</c:v>
                </c:pt>
                <c:pt idx="285">
                  <c:v>15023</c:v>
                </c:pt>
                <c:pt idx="286">
                  <c:v>15026</c:v>
                </c:pt>
                <c:pt idx="287">
                  <c:v>15027</c:v>
                </c:pt>
                <c:pt idx="288">
                  <c:v>15028</c:v>
                </c:pt>
                <c:pt idx="289">
                  <c:v>15029</c:v>
                </c:pt>
                <c:pt idx="290">
                  <c:v>15030</c:v>
                </c:pt>
                <c:pt idx="291">
                  <c:v>15033</c:v>
                </c:pt>
                <c:pt idx="292">
                  <c:v>15034</c:v>
                </c:pt>
                <c:pt idx="293">
                  <c:v>15035</c:v>
                </c:pt>
                <c:pt idx="294">
                  <c:v>15036</c:v>
                </c:pt>
                <c:pt idx="295">
                  <c:v>15037</c:v>
                </c:pt>
                <c:pt idx="296">
                  <c:v>15040</c:v>
                </c:pt>
                <c:pt idx="297">
                  <c:v>15041</c:v>
                </c:pt>
                <c:pt idx="298">
                  <c:v>15042</c:v>
                </c:pt>
                <c:pt idx="299">
                  <c:v>15043</c:v>
                </c:pt>
                <c:pt idx="300">
                  <c:v>15044</c:v>
                </c:pt>
                <c:pt idx="301">
                  <c:v>15047</c:v>
                </c:pt>
                <c:pt idx="302">
                  <c:v>15048</c:v>
                </c:pt>
                <c:pt idx="303">
                  <c:v>15049</c:v>
                </c:pt>
                <c:pt idx="304">
                  <c:v>15050</c:v>
                </c:pt>
                <c:pt idx="305">
                  <c:v>15051</c:v>
                </c:pt>
                <c:pt idx="306">
                  <c:v>15054</c:v>
                </c:pt>
                <c:pt idx="307">
                  <c:v>15055</c:v>
                </c:pt>
                <c:pt idx="308">
                  <c:v>15056</c:v>
                </c:pt>
                <c:pt idx="309">
                  <c:v>15057</c:v>
                </c:pt>
                <c:pt idx="310">
                  <c:v>15058</c:v>
                </c:pt>
                <c:pt idx="311">
                  <c:v>15061</c:v>
                </c:pt>
                <c:pt idx="312">
                  <c:v>15062</c:v>
                </c:pt>
                <c:pt idx="313">
                  <c:v>15063</c:v>
                </c:pt>
                <c:pt idx="314">
                  <c:v>15064</c:v>
                </c:pt>
                <c:pt idx="315">
                  <c:v>15065</c:v>
                </c:pt>
                <c:pt idx="316">
                  <c:v>15068</c:v>
                </c:pt>
                <c:pt idx="317">
                  <c:v>15069</c:v>
                </c:pt>
                <c:pt idx="318">
                  <c:v>15070</c:v>
                </c:pt>
                <c:pt idx="319">
                  <c:v>15071</c:v>
                </c:pt>
                <c:pt idx="320">
                  <c:v>15072</c:v>
                </c:pt>
                <c:pt idx="321">
                  <c:v>15075</c:v>
                </c:pt>
                <c:pt idx="322">
                  <c:v>15076</c:v>
                </c:pt>
                <c:pt idx="323">
                  <c:v>15077</c:v>
                </c:pt>
                <c:pt idx="324">
                  <c:v>15078</c:v>
                </c:pt>
                <c:pt idx="325">
                  <c:v>15079</c:v>
                </c:pt>
                <c:pt idx="326">
                  <c:v>15082</c:v>
                </c:pt>
                <c:pt idx="327">
                  <c:v>15083</c:v>
                </c:pt>
                <c:pt idx="328">
                  <c:v>15084</c:v>
                </c:pt>
                <c:pt idx="329">
                  <c:v>15090</c:v>
                </c:pt>
                <c:pt idx="330">
                  <c:v>15091</c:v>
                </c:pt>
                <c:pt idx="331">
                  <c:v>15092</c:v>
                </c:pt>
                <c:pt idx="332">
                  <c:v>15093</c:v>
                </c:pt>
                <c:pt idx="333">
                  <c:v>15096</c:v>
                </c:pt>
                <c:pt idx="334">
                  <c:v>15097</c:v>
                </c:pt>
                <c:pt idx="335">
                  <c:v>15098</c:v>
                </c:pt>
                <c:pt idx="336">
                  <c:v>15099</c:v>
                </c:pt>
                <c:pt idx="337">
                  <c:v>15100</c:v>
                </c:pt>
                <c:pt idx="338">
                  <c:v>15103</c:v>
                </c:pt>
                <c:pt idx="339">
                  <c:v>15104</c:v>
                </c:pt>
                <c:pt idx="340">
                  <c:v>15105</c:v>
                </c:pt>
                <c:pt idx="341">
                  <c:v>15106</c:v>
                </c:pt>
                <c:pt idx="342">
                  <c:v>15107</c:v>
                </c:pt>
                <c:pt idx="343">
                  <c:v>15110</c:v>
                </c:pt>
                <c:pt idx="344">
                  <c:v>15111</c:v>
                </c:pt>
                <c:pt idx="345">
                  <c:v>15112</c:v>
                </c:pt>
                <c:pt idx="346">
                  <c:v>15113</c:v>
                </c:pt>
                <c:pt idx="347">
                  <c:v>15114</c:v>
                </c:pt>
                <c:pt idx="348">
                  <c:v>15117</c:v>
                </c:pt>
                <c:pt idx="349">
                  <c:v>15118</c:v>
                </c:pt>
                <c:pt idx="350">
                  <c:v>15119</c:v>
                </c:pt>
                <c:pt idx="351">
                  <c:v>15120</c:v>
                </c:pt>
                <c:pt idx="352">
                  <c:v>15121</c:v>
                </c:pt>
                <c:pt idx="353">
                  <c:v>15124</c:v>
                </c:pt>
                <c:pt idx="354">
                  <c:v>15125</c:v>
                </c:pt>
                <c:pt idx="355">
                  <c:v>15126</c:v>
                </c:pt>
                <c:pt idx="356">
                  <c:v>15128</c:v>
                </c:pt>
                <c:pt idx="357">
                  <c:v>15131</c:v>
                </c:pt>
                <c:pt idx="358">
                  <c:v>15132</c:v>
                </c:pt>
                <c:pt idx="359">
                  <c:v>15133</c:v>
                </c:pt>
                <c:pt idx="360">
                  <c:v>15134</c:v>
                </c:pt>
                <c:pt idx="361">
                  <c:v>15135</c:v>
                </c:pt>
                <c:pt idx="362">
                  <c:v>15139</c:v>
                </c:pt>
                <c:pt idx="363">
                  <c:v>15140</c:v>
                </c:pt>
                <c:pt idx="364">
                  <c:v>15141</c:v>
                </c:pt>
                <c:pt idx="365">
                  <c:v>15145</c:v>
                </c:pt>
                <c:pt idx="366">
                  <c:v>15146</c:v>
                </c:pt>
                <c:pt idx="367">
                  <c:v>15147</c:v>
                </c:pt>
                <c:pt idx="368">
                  <c:v>15148</c:v>
                </c:pt>
                <c:pt idx="369">
                  <c:v>15149</c:v>
                </c:pt>
                <c:pt idx="370">
                  <c:v>15152</c:v>
                </c:pt>
                <c:pt idx="371">
                  <c:v>15153</c:v>
                </c:pt>
                <c:pt idx="372">
                  <c:v>15154</c:v>
                </c:pt>
                <c:pt idx="373">
                  <c:v>15155</c:v>
                </c:pt>
                <c:pt idx="374">
                  <c:v>15156</c:v>
                </c:pt>
                <c:pt idx="375">
                  <c:v>15159</c:v>
                </c:pt>
                <c:pt idx="376">
                  <c:v>15160</c:v>
                </c:pt>
                <c:pt idx="377">
                  <c:v>15161</c:v>
                </c:pt>
                <c:pt idx="378">
                  <c:v>15162</c:v>
                </c:pt>
                <c:pt idx="379">
                  <c:v>15163</c:v>
                </c:pt>
                <c:pt idx="380">
                  <c:v>15166</c:v>
                </c:pt>
                <c:pt idx="381">
                  <c:v>15167</c:v>
                </c:pt>
                <c:pt idx="382">
                  <c:v>15168</c:v>
                </c:pt>
                <c:pt idx="383">
                  <c:v>15169</c:v>
                </c:pt>
                <c:pt idx="384">
                  <c:v>15170</c:v>
                </c:pt>
                <c:pt idx="385">
                  <c:v>15173</c:v>
                </c:pt>
                <c:pt idx="386">
                  <c:v>15174</c:v>
                </c:pt>
                <c:pt idx="387">
                  <c:v>15175</c:v>
                </c:pt>
                <c:pt idx="388">
                  <c:v>15176</c:v>
                </c:pt>
                <c:pt idx="389">
                  <c:v>15177</c:v>
                </c:pt>
                <c:pt idx="390">
                  <c:v>15180</c:v>
                </c:pt>
                <c:pt idx="391">
                  <c:v>15181</c:v>
                </c:pt>
                <c:pt idx="392">
                  <c:v>15182</c:v>
                </c:pt>
                <c:pt idx="393">
                  <c:v>15183</c:v>
                </c:pt>
                <c:pt idx="394">
                  <c:v>15184</c:v>
                </c:pt>
                <c:pt idx="395">
                  <c:v>15188</c:v>
                </c:pt>
                <c:pt idx="396">
                  <c:v>15189</c:v>
                </c:pt>
                <c:pt idx="397">
                  <c:v>15190</c:v>
                </c:pt>
                <c:pt idx="398">
                  <c:v>15191</c:v>
                </c:pt>
                <c:pt idx="399">
                  <c:v>15194</c:v>
                </c:pt>
                <c:pt idx="400">
                  <c:v>15195</c:v>
                </c:pt>
                <c:pt idx="401">
                  <c:v>15196</c:v>
                </c:pt>
                <c:pt idx="402">
                  <c:v>15197</c:v>
                </c:pt>
                <c:pt idx="403">
                  <c:v>15198</c:v>
                </c:pt>
                <c:pt idx="404">
                  <c:v>15201</c:v>
                </c:pt>
                <c:pt idx="405">
                  <c:v>15202</c:v>
                </c:pt>
                <c:pt idx="406">
                  <c:v>15203</c:v>
                </c:pt>
                <c:pt idx="407">
                  <c:v>15204</c:v>
                </c:pt>
                <c:pt idx="408">
                  <c:v>15205</c:v>
                </c:pt>
                <c:pt idx="409">
                  <c:v>15208</c:v>
                </c:pt>
                <c:pt idx="410">
                  <c:v>15209</c:v>
                </c:pt>
                <c:pt idx="411">
                  <c:v>15210</c:v>
                </c:pt>
                <c:pt idx="412">
                  <c:v>15211</c:v>
                </c:pt>
                <c:pt idx="413">
                  <c:v>15212</c:v>
                </c:pt>
                <c:pt idx="414">
                  <c:v>15215</c:v>
                </c:pt>
                <c:pt idx="415">
                  <c:v>15216</c:v>
                </c:pt>
                <c:pt idx="416">
                  <c:v>15217</c:v>
                </c:pt>
                <c:pt idx="417">
                  <c:v>15218</c:v>
                </c:pt>
                <c:pt idx="418">
                  <c:v>15219</c:v>
                </c:pt>
                <c:pt idx="419">
                  <c:v>15222</c:v>
                </c:pt>
                <c:pt idx="420">
                  <c:v>15223</c:v>
                </c:pt>
                <c:pt idx="421">
                  <c:v>15224</c:v>
                </c:pt>
                <c:pt idx="422">
                  <c:v>15225</c:v>
                </c:pt>
                <c:pt idx="423">
                  <c:v>15226</c:v>
                </c:pt>
                <c:pt idx="424">
                  <c:v>15229</c:v>
                </c:pt>
                <c:pt idx="425">
                  <c:v>15230</c:v>
                </c:pt>
                <c:pt idx="426">
                  <c:v>15231</c:v>
                </c:pt>
                <c:pt idx="427">
                  <c:v>15232</c:v>
                </c:pt>
                <c:pt idx="428">
                  <c:v>15233</c:v>
                </c:pt>
                <c:pt idx="429">
                  <c:v>15236</c:v>
                </c:pt>
                <c:pt idx="430">
                  <c:v>15237</c:v>
                </c:pt>
                <c:pt idx="431">
                  <c:v>15238</c:v>
                </c:pt>
                <c:pt idx="432">
                  <c:v>15239</c:v>
                </c:pt>
                <c:pt idx="433">
                  <c:v>15240</c:v>
                </c:pt>
                <c:pt idx="434">
                  <c:v>15243</c:v>
                </c:pt>
                <c:pt idx="435">
                  <c:v>15244</c:v>
                </c:pt>
                <c:pt idx="436">
                  <c:v>15245</c:v>
                </c:pt>
                <c:pt idx="437">
                  <c:v>15246</c:v>
                </c:pt>
                <c:pt idx="438">
                  <c:v>15247</c:v>
                </c:pt>
                <c:pt idx="439">
                  <c:v>15250</c:v>
                </c:pt>
                <c:pt idx="440">
                  <c:v>15251</c:v>
                </c:pt>
                <c:pt idx="441">
                  <c:v>15252</c:v>
                </c:pt>
                <c:pt idx="442">
                  <c:v>15253</c:v>
                </c:pt>
                <c:pt idx="443">
                  <c:v>15254</c:v>
                </c:pt>
                <c:pt idx="444">
                  <c:v>15257</c:v>
                </c:pt>
                <c:pt idx="445">
                  <c:v>15258</c:v>
                </c:pt>
                <c:pt idx="446">
                  <c:v>15259</c:v>
                </c:pt>
                <c:pt idx="447">
                  <c:v>15260</c:v>
                </c:pt>
                <c:pt idx="448">
                  <c:v>15261</c:v>
                </c:pt>
                <c:pt idx="449">
                  <c:v>15264</c:v>
                </c:pt>
                <c:pt idx="450">
                  <c:v>15265</c:v>
                </c:pt>
                <c:pt idx="451">
                  <c:v>15266</c:v>
                </c:pt>
                <c:pt idx="452">
                  <c:v>15267</c:v>
                </c:pt>
                <c:pt idx="453">
                  <c:v>15268</c:v>
                </c:pt>
                <c:pt idx="454">
                  <c:v>15271</c:v>
                </c:pt>
                <c:pt idx="455">
                  <c:v>15272</c:v>
                </c:pt>
                <c:pt idx="456">
                  <c:v>15273</c:v>
                </c:pt>
                <c:pt idx="457">
                  <c:v>15274</c:v>
                </c:pt>
                <c:pt idx="458">
                  <c:v>15275</c:v>
                </c:pt>
                <c:pt idx="459">
                  <c:v>15278</c:v>
                </c:pt>
                <c:pt idx="460">
                  <c:v>15279</c:v>
                </c:pt>
                <c:pt idx="461">
                  <c:v>15280</c:v>
                </c:pt>
                <c:pt idx="462">
                  <c:v>15281</c:v>
                </c:pt>
                <c:pt idx="463">
                  <c:v>15282</c:v>
                </c:pt>
                <c:pt idx="464">
                  <c:v>15285</c:v>
                </c:pt>
                <c:pt idx="465">
                  <c:v>15286</c:v>
                </c:pt>
                <c:pt idx="466">
                  <c:v>15287</c:v>
                </c:pt>
                <c:pt idx="467">
                  <c:v>15288</c:v>
                </c:pt>
                <c:pt idx="468">
                  <c:v>15289</c:v>
                </c:pt>
                <c:pt idx="469">
                  <c:v>15292</c:v>
                </c:pt>
                <c:pt idx="470">
                  <c:v>15293</c:v>
                </c:pt>
                <c:pt idx="471">
                  <c:v>15294</c:v>
                </c:pt>
                <c:pt idx="472">
                  <c:v>15295</c:v>
                </c:pt>
                <c:pt idx="473">
                  <c:v>15296</c:v>
                </c:pt>
                <c:pt idx="474">
                  <c:v>15299</c:v>
                </c:pt>
                <c:pt idx="475">
                  <c:v>15300</c:v>
                </c:pt>
                <c:pt idx="476">
                  <c:v>15301</c:v>
                </c:pt>
                <c:pt idx="477">
                  <c:v>15302</c:v>
                </c:pt>
                <c:pt idx="478">
                  <c:v>15303</c:v>
                </c:pt>
                <c:pt idx="479">
                  <c:v>15306</c:v>
                </c:pt>
                <c:pt idx="480">
                  <c:v>15307</c:v>
                </c:pt>
                <c:pt idx="481">
                  <c:v>15308</c:v>
                </c:pt>
                <c:pt idx="482">
                  <c:v>15309</c:v>
                </c:pt>
                <c:pt idx="483">
                  <c:v>15310</c:v>
                </c:pt>
                <c:pt idx="484">
                  <c:v>15313</c:v>
                </c:pt>
                <c:pt idx="485">
                  <c:v>15314</c:v>
                </c:pt>
                <c:pt idx="486">
                  <c:v>15315</c:v>
                </c:pt>
                <c:pt idx="487">
                  <c:v>15316</c:v>
                </c:pt>
                <c:pt idx="488">
                  <c:v>15317</c:v>
                </c:pt>
                <c:pt idx="489">
                  <c:v>15320</c:v>
                </c:pt>
                <c:pt idx="490">
                  <c:v>15321</c:v>
                </c:pt>
                <c:pt idx="491">
                  <c:v>15322</c:v>
                </c:pt>
                <c:pt idx="492">
                  <c:v>15323</c:v>
                </c:pt>
                <c:pt idx="493">
                  <c:v>15324</c:v>
                </c:pt>
                <c:pt idx="494">
                  <c:v>15327</c:v>
                </c:pt>
                <c:pt idx="495">
                  <c:v>15328</c:v>
                </c:pt>
                <c:pt idx="496">
                  <c:v>15329</c:v>
                </c:pt>
                <c:pt idx="497">
                  <c:v>15330</c:v>
                </c:pt>
                <c:pt idx="498">
                  <c:v>15331</c:v>
                </c:pt>
                <c:pt idx="499">
                  <c:v>15335</c:v>
                </c:pt>
                <c:pt idx="500">
                  <c:v>15336</c:v>
                </c:pt>
                <c:pt idx="501">
                  <c:v>15337</c:v>
                </c:pt>
                <c:pt idx="502">
                  <c:v>15338</c:v>
                </c:pt>
                <c:pt idx="503">
                  <c:v>15341</c:v>
                </c:pt>
                <c:pt idx="504">
                  <c:v>15342</c:v>
                </c:pt>
                <c:pt idx="505">
                  <c:v>15343</c:v>
                </c:pt>
                <c:pt idx="506">
                  <c:v>15344</c:v>
                </c:pt>
                <c:pt idx="507">
                  <c:v>15345</c:v>
                </c:pt>
                <c:pt idx="508">
                  <c:v>15348</c:v>
                </c:pt>
                <c:pt idx="509">
                  <c:v>15349</c:v>
                </c:pt>
                <c:pt idx="510">
                  <c:v>15350</c:v>
                </c:pt>
                <c:pt idx="511">
                  <c:v>15351</c:v>
                </c:pt>
                <c:pt idx="512">
                  <c:v>15352</c:v>
                </c:pt>
                <c:pt idx="513">
                  <c:v>15355</c:v>
                </c:pt>
                <c:pt idx="514">
                  <c:v>15356</c:v>
                </c:pt>
                <c:pt idx="515">
                  <c:v>15357</c:v>
                </c:pt>
                <c:pt idx="516">
                  <c:v>15358</c:v>
                </c:pt>
                <c:pt idx="517">
                  <c:v>15359</c:v>
                </c:pt>
                <c:pt idx="518">
                  <c:v>15362</c:v>
                </c:pt>
                <c:pt idx="519">
                  <c:v>15363</c:v>
                </c:pt>
                <c:pt idx="520">
                  <c:v>15364</c:v>
                </c:pt>
                <c:pt idx="521">
                  <c:v>15365</c:v>
                </c:pt>
                <c:pt idx="522">
                  <c:v>15366</c:v>
                </c:pt>
                <c:pt idx="523">
                  <c:v>15369</c:v>
                </c:pt>
                <c:pt idx="524">
                  <c:v>15370</c:v>
                </c:pt>
                <c:pt idx="525">
                  <c:v>15371</c:v>
                </c:pt>
                <c:pt idx="526">
                  <c:v>15372</c:v>
                </c:pt>
                <c:pt idx="527">
                  <c:v>15373</c:v>
                </c:pt>
                <c:pt idx="528">
                  <c:v>15376</c:v>
                </c:pt>
                <c:pt idx="529">
                  <c:v>15377</c:v>
                </c:pt>
                <c:pt idx="530">
                  <c:v>15378</c:v>
                </c:pt>
                <c:pt idx="531">
                  <c:v>15379</c:v>
                </c:pt>
                <c:pt idx="532">
                  <c:v>15380</c:v>
                </c:pt>
                <c:pt idx="533">
                  <c:v>15383</c:v>
                </c:pt>
                <c:pt idx="534">
                  <c:v>15384</c:v>
                </c:pt>
                <c:pt idx="535">
                  <c:v>15385</c:v>
                </c:pt>
                <c:pt idx="536">
                  <c:v>15386</c:v>
                </c:pt>
                <c:pt idx="537">
                  <c:v>15387</c:v>
                </c:pt>
                <c:pt idx="538">
                  <c:v>15390</c:v>
                </c:pt>
                <c:pt idx="539">
                  <c:v>15391</c:v>
                </c:pt>
                <c:pt idx="540">
                  <c:v>15392</c:v>
                </c:pt>
                <c:pt idx="541">
                  <c:v>15393</c:v>
                </c:pt>
                <c:pt idx="542">
                  <c:v>15394</c:v>
                </c:pt>
                <c:pt idx="543">
                  <c:v>15397</c:v>
                </c:pt>
                <c:pt idx="544">
                  <c:v>15398</c:v>
                </c:pt>
                <c:pt idx="545">
                  <c:v>15399</c:v>
                </c:pt>
                <c:pt idx="546">
                  <c:v>15400</c:v>
                </c:pt>
                <c:pt idx="547">
                  <c:v>15401</c:v>
                </c:pt>
                <c:pt idx="548">
                  <c:v>15404</c:v>
                </c:pt>
                <c:pt idx="549">
                  <c:v>15405</c:v>
                </c:pt>
                <c:pt idx="550">
                  <c:v>15406</c:v>
                </c:pt>
                <c:pt idx="551">
                  <c:v>15407</c:v>
                </c:pt>
                <c:pt idx="552">
                  <c:v>15408</c:v>
                </c:pt>
                <c:pt idx="553">
                  <c:v>15411</c:v>
                </c:pt>
                <c:pt idx="554">
                  <c:v>15412</c:v>
                </c:pt>
                <c:pt idx="555">
                  <c:v>15413</c:v>
                </c:pt>
                <c:pt idx="556">
                  <c:v>15414</c:v>
                </c:pt>
                <c:pt idx="557">
                  <c:v>15415</c:v>
                </c:pt>
                <c:pt idx="558">
                  <c:v>15418</c:v>
                </c:pt>
                <c:pt idx="559">
                  <c:v>15419</c:v>
                </c:pt>
                <c:pt idx="560">
                  <c:v>15420</c:v>
                </c:pt>
                <c:pt idx="561">
                  <c:v>15421</c:v>
                </c:pt>
                <c:pt idx="562">
                  <c:v>15422</c:v>
                </c:pt>
                <c:pt idx="563">
                  <c:v>15425</c:v>
                </c:pt>
                <c:pt idx="564">
                  <c:v>15426</c:v>
                </c:pt>
                <c:pt idx="565">
                  <c:v>15427</c:v>
                </c:pt>
                <c:pt idx="566">
                  <c:v>15428</c:v>
                </c:pt>
                <c:pt idx="567">
                  <c:v>15429</c:v>
                </c:pt>
                <c:pt idx="568">
                  <c:v>15432</c:v>
                </c:pt>
                <c:pt idx="569">
                  <c:v>15433</c:v>
                </c:pt>
                <c:pt idx="570">
                  <c:v>15434</c:v>
                </c:pt>
                <c:pt idx="571">
                  <c:v>15440</c:v>
                </c:pt>
                <c:pt idx="572">
                  <c:v>15441</c:v>
                </c:pt>
                <c:pt idx="573">
                  <c:v>15442</c:v>
                </c:pt>
                <c:pt idx="574">
                  <c:v>15443</c:v>
                </c:pt>
                <c:pt idx="575">
                  <c:v>15446</c:v>
                </c:pt>
                <c:pt idx="576">
                  <c:v>15447</c:v>
                </c:pt>
                <c:pt idx="577">
                  <c:v>15448</c:v>
                </c:pt>
                <c:pt idx="578">
                  <c:v>15450</c:v>
                </c:pt>
                <c:pt idx="579">
                  <c:v>15453</c:v>
                </c:pt>
                <c:pt idx="580">
                  <c:v>15454</c:v>
                </c:pt>
                <c:pt idx="581">
                  <c:v>15455</c:v>
                </c:pt>
                <c:pt idx="582">
                  <c:v>15456</c:v>
                </c:pt>
                <c:pt idx="583">
                  <c:v>15457</c:v>
                </c:pt>
                <c:pt idx="584">
                  <c:v>15460</c:v>
                </c:pt>
                <c:pt idx="585">
                  <c:v>15462</c:v>
                </c:pt>
                <c:pt idx="586">
                  <c:v>15463</c:v>
                </c:pt>
                <c:pt idx="587">
                  <c:v>15464</c:v>
                </c:pt>
                <c:pt idx="588">
                  <c:v>15467</c:v>
                </c:pt>
                <c:pt idx="589">
                  <c:v>15468</c:v>
                </c:pt>
                <c:pt idx="590">
                  <c:v>15469</c:v>
                </c:pt>
                <c:pt idx="591">
                  <c:v>15470</c:v>
                </c:pt>
                <c:pt idx="592">
                  <c:v>15471</c:v>
                </c:pt>
                <c:pt idx="593">
                  <c:v>15474</c:v>
                </c:pt>
                <c:pt idx="594">
                  <c:v>15475</c:v>
                </c:pt>
                <c:pt idx="595">
                  <c:v>15476</c:v>
                </c:pt>
                <c:pt idx="596">
                  <c:v>15478</c:v>
                </c:pt>
                <c:pt idx="597">
                  <c:v>15481</c:v>
                </c:pt>
                <c:pt idx="598">
                  <c:v>15482</c:v>
                </c:pt>
                <c:pt idx="599">
                  <c:v>15483</c:v>
                </c:pt>
                <c:pt idx="600">
                  <c:v>15484</c:v>
                </c:pt>
                <c:pt idx="601">
                  <c:v>15485</c:v>
                </c:pt>
                <c:pt idx="602">
                  <c:v>15489</c:v>
                </c:pt>
                <c:pt idx="603">
                  <c:v>15490</c:v>
                </c:pt>
                <c:pt idx="604">
                  <c:v>15491</c:v>
                </c:pt>
                <c:pt idx="605">
                  <c:v>15492</c:v>
                </c:pt>
                <c:pt idx="606">
                  <c:v>15495</c:v>
                </c:pt>
                <c:pt idx="607">
                  <c:v>15496</c:v>
                </c:pt>
                <c:pt idx="608">
                  <c:v>15497</c:v>
                </c:pt>
                <c:pt idx="609">
                  <c:v>15498</c:v>
                </c:pt>
                <c:pt idx="610">
                  <c:v>15499</c:v>
                </c:pt>
                <c:pt idx="611">
                  <c:v>15502</c:v>
                </c:pt>
                <c:pt idx="612">
                  <c:v>15503</c:v>
                </c:pt>
                <c:pt idx="613">
                  <c:v>15504</c:v>
                </c:pt>
                <c:pt idx="614">
                  <c:v>15505</c:v>
                </c:pt>
                <c:pt idx="615">
                  <c:v>15506</c:v>
                </c:pt>
                <c:pt idx="616">
                  <c:v>15509</c:v>
                </c:pt>
                <c:pt idx="617">
                  <c:v>15510</c:v>
                </c:pt>
                <c:pt idx="618">
                  <c:v>15511</c:v>
                </c:pt>
                <c:pt idx="619">
                  <c:v>15512</c:v>
                </c:pt>
                <c:pt idx="620">
                  <c:v>15513</c:v>
                </c:pt>
                <c:pt idx="621">
                  <c:v>15516</c:v>
                </c:pt>
                <c:pt idx="622">
                  <c:v>15517</c:v>
                </c:pt>
                <c:pt idx="623">
                  <c:v>15518</c:v>
                </c:pt>
                <c:pt idx="624">
                  <c:v>15519</c:v>
                </c:pt>
                <c:pt idx="625">
                  <c:v>15520</c:v>
                </c:pt>
                <c:pt idx="626">
                  <c:v>15523</c:v>
                </c:pt>
                <c:pt idx="627">
                  <c:v>15524</c:v>
                </c:pt>
                <c:pt idx="628">
                  <c:v>15525</c:v>
                </c:pt>
                <c:pt idx="629">
                  <c:v>15526</c:v>
                </c:pt>
                <c:pt idx="630">
                  <c:v>15527</c:v>
                </c:pt>
                <c:pt idx="631">
                  <c:v>15530</c:v>
                </c:pt>
                <c:pt idx="632">
                  <c:v>15531</c:v>
                </c:pt>
                <c:pt idx="633">
                  <c:v>15532</c:v>
                </c:pt>
                <c:pt idx="634">
                  <c:v>15533</c:v>
                </c:pt>
                <c:pt idx="635">
                  <c:v>15534</c:v>
                </c:pt>
                <c:pt idx="636">
                  <c:v>15537</c:v>
                </c:pt>
                <c:pt idx="637">
                  <c:v>15538</c:v>
                </c:pt>
                <c:pt idx="638">
                  <c:v>15539</c:v>
                </c:pt>
                <c:pt idx="639">
                  <c:v>15540</c:v>
                </c:pt>
                <c:pt idx="640">
                  <c:v>15541</c:v>
                </c:pt>
                <c:pt idx="641">
                  <c:v>15544</c:v>
                </c:pt>
                <c:pt idx="642">
                  <c:v>15545</c:v>
                </c:pt>
                <c:pt idx="643">
                  <c:v>15546</c:v>
                </c:pt>
                <c:pt idx="644">
                  <c:v>15547</c:v>
                </c:pt>
                <c:pt idx="645">
                  <c:v>15548</c:v>
                </c:pt>
                <c:pt idx="646">
                  <c:v>15551</c:v>
                </c:pt>
                <c:pt idx="647">
                  <c:v>15552</c:v>
                </c:pt>
                <c:pt idx="648">
                  <c:v>15553</c:v>
                </c:pt>
                <c:pt idx="649">
                  <c:v>15554</c:v>
                </c:pt>
                <c:pt idx="650">
                  <c:v>15555</c:v>
                </c:pt>
                <c:pt idx="651">
                  <c:v>15559</c:v>
                </c:pt>
                <c:pt idx="652">
                  <c:v>15560</c:v>
                </c:pt>
                <c:pt idx="653">
                  <c:v>15561</c:v>
                </c:pt>
                <c:pt idx="654">
                  <c:v>15562</c:v>
                </c:pt>
                <c:pt idx="655">
                  <c:v>15565</c:v>
                </c:pt>
                <c:pt idx="656">
                  <c:v>15566</c:v>
                </c:pt>
                <c:pt idx="657">
                  <c:v>15567</c:v>
                </c:pt>
                <c:pt idx="658">
                  <c:v>15568</c:v>
                </c:pt>
                <c:pt idx="659">
                  <c:v>15569</c:v>
                </c:pt>
                <c:pt idx="660">
                  <c:v>15572</c:v>
                </c:pt>
                <c:pt idx="661">
                  <c:v>15573</c:v>
                </c:pt>
                <c:pt idx="662">
                  <c:v>15574</c:v>
                </c:pt>
                <c:pt idx="663">
                  <c:v>15575</c:v>
                </c:pt>
                <c:pt idx="664">
                  <c:v>15576</c:v>
                </c:pt>
                <c:pt idx="665">
                  <c:v>15579</c:v>
                </c:pt>
                <c:pt idx="666">
                  <c:v>15580</c:v>
                </c:pt>
                <c:pt idx="667">
                  <c:v>15581</c:v>
                </c:pt>
                <c:pt idx="668">
                  <c:v>15582</c:v>
                </c:pt>
                <c:pt idx="669">
                  <c:v>15583</c:v>
                </c:pt>
                <c:pt idx="670">
                  <c:v>15586</c:v>
                </c:pt>
                <c:pt idx="671">
                  <c:v>15587</c:v>
                </c:pt>
                <c:pt idx="672">
                  <c:v>15588</c:v>
                </c:pt>
                <c:pt idx="673">
                  <c:v>15589</c:v>
                </c:pt>
                <c:pt idx="674">
                  <c:v>15590</c:v>
                </c:pt>
                <c:pt idx="675">
                  <c:v>15593</c:v>
                </c:pt>
                <c:pt idx="676">
                  <c:v>15594</c:v>
                </c:pt>
                <c:pt idx="677">
                  <c:v>15595</c:v>
                </c:pt>
                <c:pt idx="678">
                  <c:v>15596</c:v>
                </c:pt>
                <c:pt idx="679">
                  <c:v>15597</c:v>
                </c:pt>
                <c:pt idx="680">
                  <c:v>15600</c:v>
                </c:pt>
                <c:pt idx="681">
                  <c:v>15601</c:v>
                </c:pt>
                <c:pt idx="682">
                  <c:v>15602</c:v>
                </c:pt>
                <c:pt idx="683">
                  <c:v>15603</c:v>
                </c:pt>
                <c:pt idx="684">
                  <c:v>15604</c:v>
                </c:pt>
                <c:pt idx="685">
                  <c:v>15607</c:v>
                </c:pt>
                <c:pt idx="686">
                  <c:v>15608</c:v>
                </c:pt>
                <c:pt idx="687">
                  <c:v>15609</c:v>
                </c:pt>
                <c:pt idx="688">
                  <c:v>15610</c:v>
                </c:pt>
                <c:pt idx="689">
                  <c:v>15611</c:v>
                </c:pt>
                <c:pt idx="690">
                  <c:v>15614</c:v>
                </c:pt>
                <c:pt idx="691">
                  <c:v>15615</c:v>
                </c:pt>
                <c:pt idx="692">
                  <c:v>15616</c:v>
                </c:pt>
                <c:pt idx="693">
                  <c:v>15617</c:v>
                </c:pt>
                <c:pt idx="694">
                  <c:v>15618</c:v>
                </c:pt>
                <c:pt idx="695">
                  <c:v>15621</c:v>
                </c:pt>
                <c:pt idx="696">
                  <c:v>15622</c:v>
                </c:pt>
                <c:pt idx="697">
                  <c:v>15623</c:v>
                </c:pt>
                <c:pt idx="698">
                  <c:v>15624</c:v>
                </c:pt>
                <c:pt idx="699">
                  <c:v>15625</c:v>
                </c:pt>
                <c:pt idx="700">
                  <c:v>15628</c:v>
                </c:pt>
                <c:pt idx="701">
                  <c:v>15629</c:v>
                </c:pt>
                <c:pt idx="702">
                  <c:v>15630</c:v>
                </c:pt>
                <c:pt idx="703">
                  <c:v>15631</c:v>
                </c:pt>
                <c:pt idx="704">
                  <c:v>15632</c:v>
                </c:pt>
                <c:pt idx="705">
                  <c:v>15635</c:v>
                </c:pt>
                <c:pt idx="706">
                  <c:v>15636</c:v>
                </c:pt>
                <c:pt idx="707">
                  <c:v>15637</c:v>
                </c:pt>
                <c:pt idx="708">
                  <c:v>15638</c:v>
                </c:pt>
                <c:pt idx="709">
                  <c:v>15639</c:v>
                </c:pt>
                <c:pt idx="710">
                  <c:v>15642</c:v>
                </c:pt>
                <c:pt idx="711">
                  <c:v>15643</c:v>
                </c:pt>
                <c:pt idx="712">
                  <c:v>15644</c:v>
                </c:pt>
                <c:pt idx="713">
                  <c:v>15645</c:v>
                </c:pt>
                <c:pt idx="714">
                  <c:v>15646</c:v>
                </c:pt>
                <c:pt idx="715">
                  <c:v>15649</c:v>
                </c:pt>
                <c:pt idx="716">
                  <c:v>15650</c:v>
                </c:pt>
                <c:pt idx="717">
                  <c:v>15651</c:v>
                </c:pt>
                <c:pt idx="718">
                  <c:v>15652</c:v>
                </c:pt>
                <c:pt idx="719">
                  <c:v>15653</c:v>
                </c:pt>
                <c:pt idx="720">
                  <c:v>15656</c:v>
                </c:pt>
                <c:pt idx="721">
                  <c:v>15657</c:v>
                </c:pt>
                <c:pt idx="722">
                  <c:v>15658</c:v>
                </c:pt>
                <c:pt idx="723">
                  <c:v>15659</c:v>
                </c:pt>
                <c:pt idx="724">
                  <c:v>15660</c:v>
                </c:pt>
                <c:pt idx="725">
                  <c:v>15663</c:v>
                </c:pt>
                <c:pt idx="726">
                  <c:v>15664</c:v>
                </c:pt>
                <c:pt idx="727">
                  <c:v>15665</c:v>
                </c:pt>
                <c:pt idx="728">
                  <c:v>15666</c:v>
                </c:pt>
                <c:pt idx="729">
                  <c:v>15667</c:v>
                </c:pt>
                <c:pt idx="730">
                  <c:v>15670</c:v>
                </c:pt>
                <c:pt idx="731">
                  <c:v>15671</c:v>
                </c:pt>
                <c:pt idx="732">
                  <c:v>15672</c:v>
                </c:pt>
                <c:pt idx="733">
                  <c:v>15673</c:v>
                </c:pt>
                <c:pt idx="734">
                  <c:v>15674</c:v>
                </c:pt>
                <c:pt idx="735">
                  <c:v>15677</c:v>
                </c:pt>
                <c:pt idx="736">
                  <c:v>15678</c:v>
                </c:pt>
                <c:pt idx="737">
                  <c:v>15679</c:v>
                </c:pt>
                <c:pt idx="738">
                  <c:v>15680</c:v>
                </c:pt>
                <c:pt idx="739">
                  <c:v>15681</c:v>
                </c:pt>
                <c:pt idx="740">
                  <c:v>15684</c:v>
                </c:pt>
                <c:pt idx="741">
                  <c:v>15685</c:v>
                </c:pt>
                <c:pt idx="742">
                  <c:v>15686</c:v>
                </c:pt>
                <c:pt idx="743">
                  <c:v>15687</c:v>
                </c:pt>
                <c:pt idx="744">
                  <c:v>15688</c:v>
                </c:pt>
                <c:pt idx="745">
                  <c:v>15691</c:v>
                </c:pt>
                <c:pt idx="746">
                  <c:v>15692</c:v>
                </c:pt>
                <c:pt idx="747">
                  <c:v>15693</c:v>
                </c:pt>
                <c:pt idx="748">
                  <c:v>15694</c:v>
                </c:pt>
                <c:pt idx="749">
                  <c:v>15695</c:v>
                </c:pt>
                <c:pt idx="750">
                  <c:v>15701</c:v>
                </c:pt>
                <c:pt idx="751">
                  <c:v>15702</c:v>
                </c:pt>
                <c:pt idx="752">
                  <c:v>15705</c:v>
                </c:pt>
                <c:pt idx="753">
                  <c:v>15707</c:v>
                </c:pt>
                <c:pt idx="754">
                  <c:v>15708</c:v>
                </c:pt>
                <c:pt idx="755">
                  <c:v>15709</c:v>
                </c:pt>
                <c:pt idx="756">
                  <c:v>15712</c:v>
                </c:pt>
                <c:pt idx="757">
                  <c:v>15713</c:v>
                </c:pt>
                <c:pt idx="758">
                  <c:v>15714</c:v>
                </c:pt>
                <c:pt idx="759">
                  <c:v>15715</c:v>
                </c:pt>
                <c:pt idx="760">
                  <c:v>15716</c:v>
                </c:pt>
                <c:pt idx="761">
                  <c:v>15719</c:v>
                </c:pt>
                <c:pt idx="762">
                  <c:v>15720</c:v>
                </c:pt>
                <c:pt idx="763">
                  <c:v>15721</c:v>
                </c:pt>
                <c:pt idx="764">
                  <c:v>15722</c:v>
                </c:pt>
                <c:pt idx="765">
                  <c:v>15723</c:v>
                </c:pt>
                <c:pt idx="766">
                  <c:v>15726</c:v>
                </c:pt>
                <c:pt idx="767">
                  <c:v>15727</c:v>
                </c:pt>
                <c:pt idx="768">
                  <c:v>15728</c:v>
                </c:pt>
                <c:pt idx="769">
                  <c:v>15729</c:v>
                </c:pt>
                <c:pt idx="770">
                  <c:v>15730</c:v>
                </c:pt>
                <c:pt idx="771">
                  <c:v>15733</c:v>
                </c:pt>
                <c:pt idx="772">
                  <c:v>15734</c:v>
                </c:pt>
                <c:pt idx="773">
                  <c:v>15735</c:v>
                </c:pt>
                <c:pt idx="774">
                  <c:v>15736</c:v>
                </c:pt>
                <c:pt idx="775">
                  <c:v>15737</c:v>
                </c:pt>
                <c:pt idx="776">
                  <c:v>15740</c:v>
                </c:pt>
                <c:pt idx="777">
                  <c:v>15741</c:v>
                </c:pt>
                <c:pt idx="778">
                  <c:v>15742</c:v>
                </c:pt>
                <c:pt idx="779">
                  <c:v>15743</c:v>
                </c:pt>
                <c:pt idx="780">
                  <c:v>15744</c:v>
                </c:pt>
                <c:pt idx="781">
                  <c:v>15747</c:v>
                </c:pt>
                <c:pt idx="782">
                  <c:v>15748</c:v>
                </c:pt>
                <c:pt idx="783">
                  <c:v>15749</c:v>
                </c:pt>
                <c:pt idx="784">
                  <c:v>15750</c:v>
                </c:pt>
                <c:pt idx="785">
                  <c:v>15751</c:v>
                </c:pt>
                <c:pt idx="786">
                  <c:v>15754</c:v>
                </c:pt>
                <c:pt idx="787">
                  <c:v>15755</c:v>
                </c:pt>
                <c:pt idx="788">
                  <c:v>15756</c:v>
                </c:pt>
                <c:pt idx="789">
                  <c:v>15757</c:v>
                </c:pt>
                <c:pt idx="790">
                  <c:v>15758</c:v>
                </c:pt>
                <c:pt idx="791">
                  <c:v>15761</c:v>
                </c:pt>
                <c:pt idx="792">
                  <c:v>15762</c:v>
                </c:pt>
                <c:pt idx="793">
                  <c:v>15763</c:v>
                </c:pt>
                <c:pt idx="794">
                  <c:v>15764</c:v>
                </c:pt>
                <c:pt idx="795">
                  <c:v>15765</c:v>
                </c:pt>
                <c:pt idx="796">
                  <c:v>15768</c:v>
                </c:pt>
                <c:pt idx="797">
                  <c:v>15769</c:v>
                </c:pt>
                <c:pt idx="798">
                  <c:v>15770</c:v>
                </c:pt>
                <c:pt idx="799">
                  <c:v>15771</c:v>
                </c:pt>
                <c:pt idx="800">
                  <c:v>15772</c:v>
                </c:pt>
                <c:pt idx="801">
                  <c:v>15775</c:v>
                </c:pt>
                <c:pt idx="802">
                  <c:v>15776</c:v>
                </c:pt>
                <c:pt idx="803">
                  <c:v>15777</c:v>
                </c:pt>
                <c:pt idx="804">
                  <c:v>15778</c:v>
                </c:pt>
                <c:pt idx="805">
                  <c:v>15779</c:v>
                </c:pt>
                <c:pt idx="806">
                  <c:v>15782</c:v>
                </c:pt>
                <c:pt idx="807">
                  <c:v>15783</c:v>
                </c:pt>
                <c:pt idx="808">
                  <c:v>15784</c:v>
                </c:pt>
                <c:pt idx="809">
                  <c:v>15785</c:v>
                </c:pt>
                <c:pt idx="810">
                  <c:v>15786</c:v>
                </c:pt>
                <c:pt idx="811">
                  <c:v>15789</c:v>
                </c:pt>
                <c:pt idx="812">
                  <c:v>15790</c:v>
                </c:pt>
                <c:pt idx="813">
                  <c:v>15791</c:v>
                </c:pt>
                <c:pt idx="814">
                  <c:v>15797</c:v>
                </c:pt>
                <c:pt idx="815">
                  <c:v>15798</c:v>
                </c:pt>
                <c:pt idx="816">
                  <c:v>15799</c:v>
                </c:pt>
                <c:pt idx="817">
                  <c:v>15800</c:v>
                </c:pt>
                <c:pt idx="818">
                  <c:v>15803</c:v>
                </c:pt>
                <c:pt idx="819">
                  <c:v>15804</c:v>
                </c:pt>
                <c:pt idx="820">
                  <c:v>15805</c:v>
                </c:pt>
                <c:pt idx="821">
                  <c:v>15806</c:v>
                </c:pt>
                <c:pt idx="822">
                  <c:v>15807</c:v>
                </c:pt>
                <c:pt idx="823">
                  <c:v>15810</c:v>
                </c:pt>
                <c:pt idx="824">
                  <c:v>15811</c:v>
                </c:pt>
                <c:pt idx="825">
                  <c:v>15812</c:v>
                </c:pt>
                <c:pt idx="826">
                  <c:v>15813</c:v>
                </c:pt>
                <c:pt idx="827">
                  <c:v>15814</c:v>
                </c:pt>
                <c:pt idx="828">
                  <c:v>15817</c:v>
                </c:pt>
                <c:pt idx="829">
                  <c:v>15818</c:v>
                </c:pt>
                <c:pt idx="830">
                  <c:v>15819</c:v>
                </c:pt>
                <c:pt idx="831">
                  <c:v>15821</c:v>
                </c:pt>
                <c:pt idx="832">
                  <c:v>15824</c:v>
                </c:pt>
                <c:pt idx="833">
                  <c:v>15825</c:v>
                </c:pt>
                <c:pt idx="834">
                  <c:v>15827</c:v>
                </c:pt>
                <c:pt idx="835">
                  <c:v>15828</c:v>
                </c:pt>
                <c:pt idx="836">
                  <c:v>15831</c:v>
                </c:pt>
                <c:pt idx="837">
                  <c:v>15832</c:v>
                </c:pt>
                <c:pt idx="838">
                  <c:v>15833</c:v>
                </c:pt>
                <c:pt idx="839">
                  <c:v>15835</c:v>
                </c:pt>
                <c:pt idx="840">
                  <c:v>15838</c:v>
                </c:pt>
                <c:pt idx="841">
                  <c:v>15839</c:v>
                </c:pt>
                <c:pt idx="842">
                  <c:v>15840</c:v>
                </c:pt>
                <c:pt idx="843">
                  <c:v>15841</c:v>
                </c:pt>
                <c:pt idx="844">
                  <c:v>15842</c:v>
                </c:pt>
                <c:pt idx="845">
                  <c:v>15846</c:v>
                </c:pt>
                <c:pt idx="846">
                  <c:v>15847</c:v>
                </c:pt>
                <c:pt idx="847">
                  <c:v>15848</c:v>
                </c:pt>
                <c:pt idx="848">
                  <c:v>15849</c:v>
                </c:pt>
                <c:pt idx="849">
                  <c:v>15852</c:v>
                </c:pt>
                <c:pt idx="850">
                  <c:v>15853</c:v>
                </c:pt>
                <c:pt idx="851">
                  <c:v>15854</c:v>
                </c:pt>
                <c:pt idx="852">
                  <c:v>15855</c:v>
                </c:pt>
                <c:pt idx="853">
                  <c:v>15856</c:v>
                </c:pt>
                <c:pt idx="854">
                  <c:v>15859</c:v>
                </c:pt>
                <c:pt idx="855">
                  <c:v>15860</c:v>
                </c:pt>
                <c:pt idx="856">
                  <c:v>15861</c:v>
                </c:pt>
                <c:pt idx="857">
                  <c:v>15862</c:v>
                </c:pt>
                <c:pt idx="858">
                  <c:v>15863</c:v>
                </c:pt>
                <c:pt idx="859">
                  <c:v>15866</c:v>
                </c:pt>
                <c:pt idx="860">
                  <c:v>15867</c:v>
                </c:pt>
                <c:pt idx="861">
                  <c:v>15868</c:v>
                </c:pt>
                <c:pt idx="862">
                  <c:v>15869</c:v>
                </c:pt>
                <c:pt idx="863">
                  <c:v>15870</c:v>
                </c:pt>
                <c:pt idx="864">
                  <c:v>15874</c:v>
                </c:pt>
                <c:pt idx="865">
                  <c:v>15875</c:v>
                </c:pt>
                <c:pt idx="866">
                  <c:v>15876</c:v>
                </c:pt>
                <c:pt idx="867">
                  <c:v>15877</c:v>
                </c:pt>
                <c:pt idx="868">
                  <c:v>15880</c:v>
                </c:pt>
                <c:pt idx="869">
                  <c:v>15881</c:v>
                </c:pt>
                <c:pt idx="870">
                  <c:v>15882</c:v>
                </c:pt>
                <c:pt idx="871">
                  <c:v>15883</c:v>
                </c:pt>
                <c:pt idx="872">
                  <c:v>15884</c:v>
                </c:pt>
                <c:pt idx="873">
                  <c:v>15887</c:v>
                </c:pt>
                <c:pt idx="874">
                  <c:v>15888</c:v>
                </c:pt>
                <c:pt idx="875">
                  <c:v>15889</c:v>
                </c:pt>
                <c:pt idx="876">
                  <c:v>15890</c:v>
                </c:pt>
                <c:pt idx="877">
                  <c:v>15891</c:v>
                </c:pt>
                <c:pt idx="878">
                  <c:v>15894</c:v>
                </c:pt>
                <c:pt idx="879">
                  <c:v>15895</c:v>
                </c:pt>
                <c:pt idx="880">
                  <c:v>15896</c:v>
                </c:pt>
                <c:pt idx="881">
                  <c:v>15897</c:v>
                </c:pt>
                <c:pt idx="882">
                  <c:v>15898</c:v>
                </c:pt>
                <c:pt idx="883">
                  <c:v>15901</c:v>
                </c:pt>
                <c:pt idx="884">
                  <c:v>15902</c:v>
                </c:pt>
                <c:pt idx="885">
                  <c:v>15903</c:v>
                </c:pt>
                <c:pt idx="886">
                  <c:v>15904</c:v>
                </c:pt>
                <c:pt idx="887">
                  <c:v>15905</c:v>
                </c:pt>
                <c:pt idx="888">
                  <c:v>15908</c:v>
                </c:pt>
                <c:pt idx="889">
                  <c:v>15909</c:v>
                </c:pt>
                <c:pt idx="890">
                  <c:v>15910</c:v>
                </c:pt>
                <c:pt idx="891">
                  <c:v>15911</c:v>
                </c:pt>
                <c:pt idx="892">
                  <c:v>15912</c:v>
                </c:pt>
                <c:pt idx="893">
                  <c:v>15915</c:v>
                </c:pt>
                <c:pt idx="894">
                  <c:v>15916</c:v>
                </c:pt>
                <c:pt idx="895">
                  <c:v>15917</c:v>
                </c:pt>
                <c:pt idx="896">
                  <c:v>15918</c:v>
                </c:pt>
                <c:pt idx="897">
                  <c:v>15919</c:v>
                </c:pt>
                <c:pt idx="898">
                  <c:v>15923</c:v>
                </c:pt>
                <c:pt idx="899">
                  <c:v>15924</c:v>
                </c:pt>
                <c:pt idx="900">
                  <c:v>15925</c:v>
                </c:pt>
                <c:pt idx="901">
                  <c:v>15926</c:v>
                </c:pt>
                <c:pt idx="902">
                  <c:v>15929</c:v>
                </c:pt>
                <c:pt idx="903">
                  <c:v>15930</c:v>
                </c:pt>
                <c:pt idx="904">
                  <c:v>15931</c:v>
                </c:pt>
                <c:pt idx="905">
                  <c:v>15932</c:v>
                </c:pt>
                <c:pt idx="906">
                  <c:v>15933</c:v>
                </c:pt>
                <c:pt idx="907">
                  <c:v>15936</c:v>
                </c:pt>
                <c:pt idx="908">
                  <c:v>15937</c:v>
                </c:pt>
                <c:pt idx="909">
                  <c:v>15938</c:v>
                </c:pt>
                <c:pt idx="910">
                  <c:v>15939</c:v>
                </c:pt>
                <c:pt idx="911">
                  <c:v>15940</c:v>
                </c:pt>
                <c:pt idx="912">
                  <c:v>15943</c:v>
                </c:pt>
                <c:pt idx="913">
                  <c:v>15944</c:v>
                </c:pt>
                <c:pt idx="914">
                  <c:v>15945</c:v>
                </c:pt>
                <c:pt idx="915">
                  <c:v>15946</c:v>
                </c:pt>
                <c:pt idx="916">
                  <c:v>15947</c:v>
                </c:pt>
                <c:pt idx="917">
                  <c:v>15950</c:v>
                </c:pt>
                <c:pt idx="918">
                  <c:v>15951</c:v>
                </c:pt>
                <c:pt idx="919">
                  <c:v>15952</c:v>
                </c:pt>
                <c:pt idx="920">
                  <c:v>15953</c:v>
                </c:pt>
                <c:pt idx="921">
                  <c:v>15954</c:v>
                </c:pt>
                <c:pt idx="922">
                  <c:v>15957</c:v>
                </c:pt>
                <c:pt idx="923">
                  <c:v>15958</c:v>
                </c:pt>
                <c:pt idx="924">
                  <c:v>15959</c:v>
                </c:pt>
                <c:pt idx="925">
                  <c:v>15960</c:v>
                </c:pt>
                <c:pt idx="926">
                  <c:v>15961</c:v>
                </c:pt>
                <c:pt idx="927">
                  <c:v>15964</c:v>
                </c:pt>
                <c:pt idx="928">
                  <c:v>15965</c:v>
                </c:pt>
                <c:pt idx="929">
                  <c:v>15966</c:v>
                </c:pt>
                <c:pt idx="930">
                  <c:v>15967</c:v>
                </c:pt>
                <c:pt idx="931">
                  <c:v>15968</c:v>
                </c:pt>
                <c:pt idx="932">
                  <c:v>15971</c:v>
                </c:pt>
                <c:pt idx="933">
                  <c:v>15972</c:v>
                </c:pt>
                <c:pt idx="934">
                  <c:v>15973</c:v>
                </c:pt>
                <c:pt idx="935">
                  <c:v>15974</c:v>
                </c:pt>
                <c:pt idx="936">
                  <c:v>15975</c:v>
                </c:pt>
                <c:pt idx="937">
                  <c:v>15978</c:v>
                </c:pt>
                <c:pt idx="938">
                  <c:v>15979</c:v>
                </c:pt>
                <c:pt idx="939">
                  <c:v>15980</c:v>
                </c:pt>
                <c:pt idx="940">
                  <c:v>15981</c:v>
                </c:pt>
                <c:pt idx="941">
                  <c:v>15982</c:v>
                </c:pt>
                <c:pt idx="942">
                  <c:v>15985</c:v>
                </c:pt>
                <c:pt idx="943">
                  <c:v>15986</c:v>
                </c:pt>
                <c:pt idx="944">
                  <c:v>15987</c:v>
                </c:pt>
                <c:pt idx="945">
                  <c:v>15988</c:v>
                </c:pt>
                <c:pt idx="946">
                  <c:v>15989</c:v>
                </c:pt>
                <c:pt idx="947">
                  <c:v>15992</c:v>
                </c:pt>
                <c:pt idx="948">
                  <c:v>15993</c:v>
                </c:pt>
                <c:pt idx="949">
                  <c:v>15994</c:v>
                </c:pt>
                <c:pt idx="950">
                  <c:v>15995</c:v>
                </c:pt>
                <c:pt idx="951">
                  <c:v>15996</c:v>
                </c:pt>
                <c:pt idx="952">
                  <c:v>15999</c:v>
                </c:pt>
                <c:pt idx="953">
                  <c:v>16000</c:v>
                </c:pt>
                <c:pt idx="954">
                  <c:v>16001</c:v>
                </c:pt>
                <c:pt idx="955">
                  <c:v>16002</c:v>
                </c:pt>
                <c:pt idx="956">
                  <c:v>16003</c:v>
                </c:pt>
                <c:pt idx="957">
                  <c:v>16006</c:v>
                </c:pt>
                <c:pt idx="958">
                  <c:v>16007</c:v>
                </c:pt>
                <c:pt idx="959">
                  <c:v>16008</c:v>
                </c:pt>
                <c:pt idx="960">
                  <c:v>16009</c:v>
                </c:pt>
                <c:pt idx="961">
                  <c:v>16010</c:v>
                </c:pt>
                <c:pt idx="962">
                  <c:v>16013</c:v>
                </c:pt>
                <c:pt idx="963">
                  <c:v>16014</c:v>
                </c:pt>
                <c:pt idx="964">
                  <c:v>16015</c:v>
                </c:pt>
                <c:pt idx="965">
                  <c:v>16016</c:v>
                </c:pt>
                <c:pt idx="966">
                  <c:v>16017</c:v>
                </c:pt>
                <c:pt idx="967">
                  <c:v>16020</c:v>
                </c:pt>
                <c:pt idx="968">
                  <c:v>16021</c:v>
                </c:pt>
                <c:pt idx="969">
                  <c:v>16022</c:v>
                </c:pt>
                <c:pt idx="970">
                  <c:v>16023</c:v>
                </c:pt>
                <c:pt idx="971">
                  <c:v>16024</c:v>
                </c:pt>
                <c:pt idx="972">
                  <c:v>16027</c:v>
                </c:pt>
                <c:pt idx="973">
                  <c:v>16028</c:v>
                </c:pt>
                <c:pt idx="974">
                  <c:v>16029</c:v>
                </c:pt>
                <c:pt idx="975">
                  <c:v>16030</c:v>
                </c:pt>
                <c:pt idx="976">
                  <c:v>16031</c:v>
                </c:pt>
                <c:pt idx="977">
                  <c:v>16034</c:v>
                </c:pt>
                <c:pt idx="978">
                  <c:v>16035</c:v>
                </c:pt>
                <c:pt idx="979">
                  <c:v>16036</c:v>
                </c:pt>
                <c:pt idx="980">
                  <c:v>16037</c:v>
                </c:pt>
                <c:pt idx="981">
                  <c:v>16038</c:v>
                </c:pt>
                <c:pt idx="982">
                  <c:v>16041</c:v>
                </c:pt>
                <c:pt idx="983">
                  <c:v>16042</c:v>
                </c:pt>
                <c:pt idx="984">
                  <c:v>16043</c:v>
                </c:pt>
                <c:pt idx="985">
                  <c:v>16044</c:v>
                </c:pt>
                <c:pt idx="986">
                  <c:v>16045</c:v>
                </c:pt>
                <c:pt idx="987">
                  <c:v>16048</c:v>
                </c:pt>
                <c:pt idx="988">
                  <c:v>16049</c:v>
                </c:pt>
                <c:pt idx="989">
                  <c:v>16050</c:v>
                </c:pt>
                <c:pt idx="990">
                  <c:v>16051</c:v>
                </c:pt>
                <c:pt idx="991">
                  <c:v>16052</c:v>
                </c:pt>
                <c:pt idx="992">
                  <c:v>16055</c:v>
                </c:pt>
                <c:pt idx="993">
                  <c:v>16056</c:v>
                </c:pt>
                <c:pt idx="994">
                  <c:v>16057</c:v>
                </c:pt>
                <c:pt idx="995">
                  <c:v>16058</c:v>
                </c:pt>
                <c:pt idx="996">
                  <c:v>16059</c:v>
                </c:pt>
                <c:pt idx="997">
                  <c:v>16062</c:v>
                </c:pt>
                <c:pt idx="998">
                  <c:v>16063</c:v>
                </c:pt>
                <c:pt idx="999">
                  <c:v>16066</c:v>
                </c:pt>
                <c:pt idx="1000">
                  <c:v>16069</c:v>
                </c:pt>
                <c:pt idx="1001">
                  <c:v>16070</c:v>
                </c:pt>
                <c:pt idx="1002">
                  <c:v>16072</c:v>
                </c:pt>
                <c:pt idx="1003">
                  <c:v>16073</c:v>
                </c:pt>
                <c:pt idx="1004">
                  <c:v>16076</c:v>
                </c:pt>
                <c:pt idx="1005">
                  <c:v>16077</c:v>
                </c:pt>
                <c:pt idx="1006">
                  <c:v>16078</c:v>
                </c:pt>
                <c:pt idx="1007">
                  <c:v>16079</c:v>
                </c:pt>
                <c:pt idx="1008">
                  <c:v>16080</c:v>
                </c:pt>
                <c:pt idx="1009">
                  <c:v>16083</c:v>
                </c:pt>
                <c:pt idx="1010">
                  <c:v>16084</c:v>
                </c:pt>
                <c:pt idx="1011">
                  <c:v>16085</c:v>
                </c:pt>
                <c:pt idx="1012">
                  <c:v>16086</c:v>
                </c:pt>
                <c:pt idx="1013">
                  <c:v>16087</c:v>
                </c:pt>
                <c:pt idx="1014">
                  <c:v>16090</c:v>
                </c:pt>
                <c:pt idx="1015">
                  <c:v>16091</c:v>
                </c:pt>
                <c:pt idx="1016">
                  <c:v>16092</c:v>
                </c:pt>
                <c:pt idx="1017">
                  <c:v>16093</c:v>
                </c:pt>
                <c:pt idx="1018">
                  <c:v>16094</c:v>
                </c:pt>
                <c:pt idx="1019">
                  <c:v>16097</c:v>
                </c:pt>
                <c:pt idx="1020">
                  <c:v>16098</c:v>
                </c:pt>
                <c:pt idx="1021">
                  <c:v>16099</c:v>
                </c:pt>
                <c:pt idx="1022">
                  <c:v>16100</c:v>
                </c:pt>
                <c:pt idx="1023">
                  <c:v>16101</c:v>
                </c:pt>
                <c:pt idx="1024">
                  <c:v>16104</c:v>
                </c:pt>
                <c:pt idx="1025">
                  <c:v>16105</c:v>
                </c:pt>
                <c:pt idx="1026">
                  <c:v>16106</c:v>
                </c:pt>
                <c:pt idx="1027">
                  <c:v>16107</c:v>
                </c:pt>
                <c:pt idx="1028">
                  <c:v>16108</c:v>
                </c:pt>
                <c:pt idx="1029">
                  <c:v>16111</c:v>
                </c:pt>
                <c:pt idx="1030">
                  <c:v>16112</c:v>
                </c:pt>
                <c:pt idx="1031">
                  <c:v>16113</c:v>
                </c:pt>
                <c:pt idx="1032">
                  <c:v>16114</c:v>
                </c:pt>
                <c:pt idx="1033">
                  <c:v>16115</c:v>
                </c:pt>
                <c:pt idx="1034">
                  <c:v>16118</c:v>
                </c:pt>
                <c:pt idx="1035">
                  <c:v>16119</c:v>
                </c:pt>
                <c:pt idx="1036">
                  <c:v>16120</c:v>
                </c:pt>
                <c:pt idx="1037">
                  <c:v>16121</c:v>
                </c:pt>
                <c:pt idx="1038">
                  <c:v>16122</c:v>
                </c:pt>
                <c:pt idx="1039">
                  <c:v>16125</c:v>
                </c:pt>
                <c:pt idx="1040">
                  <c:v>16126</c:v>
                </c:pt>
                <c:pt idx="1041">
                  <c:v>16127</c:v>
                </c:pt>
                <c:pt idx="1042">
                  <c:v>16128</c:v>
                </c:pt>
                <c:pt idx="1043">
                  <c:v>16129</c:v>
                </c:pt>
                <c:pt idx="1044">
                  <c:v>16132</c:v>
                </c:pt>
                <c:pt idx="1045">
                  <c:v>16133</c:v>
                </c:pt>
                <c:pt idx="1046">
                  <c:v>16134</c:v>
                </c:pt>
                <c:pt idx="1047">
                  <c:v>16135</c:v>
                </c:pt>
                <c:pt idx="1048">
                  <c:v>16136</c:v>
                </c:pt>
                <c:pt idx="1049">
                  <c:v>16139</c:v>
                </c:pt>
                <c:pt idx="1050">
                  <c:v>16140</c:v>
                </c:pt>
                <c:pt idx="1051">
                  <c:v>16141</c:v>
                </c:pt>
                <c:pt idx="1052">
                  <c:v>16142</c:v>
                </c:pt>
                <c:pt idx="1053">
                  <c:v>16143</c:v>
                </c:pt>
                <c:pt idx="1054">
                  <c:v>16146</c:v>
                </c:pt>
                <c:pt idx="1055">
                  <c:v>16147</c:v>
                </c:pt>
                <c:pt idx="1056">
                  <c:v>16148</c:v>
                </c:pt>
                <c:pt idx="1057">
                  <c:v>16149</c:v>
                </c:pt>
                <c:pt idx="1058">
                  <c:v>16150</c:v>
                </c:pt>
                <c:pt idx="1059">
                  <c:v>16153</c:v>
                </c:pt>
                <c:pt idx="1060">
                  <c:v>16154</c:v>
                </c:pt>
                <c:pt idx="1061">
                  <c:v>16155</c:v>
                </c:pt>
                <c:pt idx="1062">
                  <c:v>16156</c:v>
                </c:pt>
                <c:pt idx="1063">
                  <c:v>16157</c:v>
                </c:pt>
                <c:pt idx="1064">
                  <c:v>16160</c:v>
                </c:pt>
                <c:pt idx="1065">
                  <c:v>16161</c:v>
                </c:pt>
                <c:pt idx="1066">
                  <c:v>16162</c:v>
                </c:pt>
                <c:pt idx="1067">
                  <c:v>16163</c:v>
                </c:pt>
                <c:pt idx="1068">
                  <c:v>16164</c:v>
                </c:pt>
                <c:pt idx="1069">
                  <c:v>16167</c:v>
                </c:pt>
                <c:pt idx="1070">
                  <c:v>16168</c:v>
                </c:pt>
                <c:pt idx="1071">
                  <c:v>16169</c:v>
                </c:pt>
                <c:pt idx="1072">
                  <c:v>16170</c:v>
                </c:pt>
                <c:pt idx="1073">
                  <c:v>16171</c:v>
                </c:pt>
                <c:pt idx="1074">
                  <c:v>16174</c:v>
                </c:pt>
                <c:pt idx="1075">
                  <c:v>16175</c:v>
                </c:pt>
                <c:pt idx="1076">
                  <c:v>16176</c:v>
                </c:pt>
                <c:pt idx="1077">
                  <c:v>16182</c:v>
                </c:pt>
                <c:pt idx="1078">
                  <c:v>16183</c:v>
                </c:pt>
                <c:pt idx="1079">
                  <c:v>16185</c:v>
                </c:pt>
                <c:pt idx="1080">
                  <c:v>16188</c:v>
                </c:pt>
                <c:pt idx="1081">
                  <c:v>16189</c:v>
                </c:pt>
                <c:pt idx="1082">
                  <c:v>16190</c:v>
                </c:pt>
                <c:pt idx="1083">
                  <c:v>16192</c:v>
                </c:pt>
                <c:pt idx="1084">
                  <c:v>16195</c:v>
                </c:pt>
                <c:pt idx="1085">
                  <c:v>16196</c:v>
                </c:pt>
                <c:pt idx="1086">
                  <c:v>16197</c:v>
                </c:pt>
                <c:pt idx="1087">
                  <c:v>16198</c:v>
                </c:pt>
                <c:pt idx="1088">
                  <c:v>16199</c:v>
                </c:pt>
                <c:pt idx="1089">
                  <c:v>16202</c:v>
                </c:pt>
                <c:pt idx="1090">
                  <c:v>16203</c:v>
                </c:pt>
                <c:pt idx="1091">
                  <c:v>16204</c:v>
                </c:pt>
                <c:pt idx="1092">
                  <c:v>16205</c:v>
                </c:pt>
                <c:pt idx="1093">
                  <c:v>16206</c:v>
                </c:pt>
                <c:pt idx="1094">
                  <c:v>16209</c:v>
                </c:pt>
                <c:pt idx="1095">
                  <c:v>16210</c:v>
                </c:pt>
                <c:pt idx="1096">
                  <c:v>16211</c:v>
                </c:pt>
                <c:pt idx="1097">
                  <c:v>16212</c:v>
                </c:pt>
                <c:pt idx="1098">
                  <c:v>16213</c:v>
                </c:pt>
                <c:pt idx="1099">
                  <c:v>16216</c:v>
                </c:pt>
                <c:pt idx="1100">
                  <c:v>16217</c:v>
                </c:pt>
                <c:pt idx="1101">
                  <c:v>16218</c:v>
                </c:pt>
                <c:pt idx="1102">
                  <c:v>16220</c:v>
                </c:pt>
                <c:pt idx="1103">
                  <c:v>16223</c:v>
                </c:pt>
                <c:pt idx="1104">
                  <c:v>16224</c:v>
                </c:pt>
                <c:pt idx="1105">
                  <c:v>16225</c:v>
                </c:pt>
                <c:pt idx="1106">
                  <c:v>16226</c:v>
                </c:pt>
                <c:pt idx="1107">
                  <c:v>16227</c:v>
                </c:pt>
                <c:pt idx="1108">
                  <c:v>16231</c:v>
                </c:pt>
                <c:pt idx="1109">
                  <c:v>16232</c:v>
                </c:pt>
                <c:pt idx="1110">
                  <c:v>16233</c:v>
                </c:pt>
                <c:pt idx="1111">
                  <c:v>16234</c:v>
                </c:pt>
                <c:pt idx="1112">
                  <c:v>16237</c:v>
                </c:pt>
                <c:pt idx="1113">
                  <c:v>16239</c:v>
                </c:pt>
                <c:pt idx="1114">
                  <c:v>16240</c:v>
                </c:pt>
                <c:pt idx="1115">
                  <c:v>16241</c:v>
                </c:pt>
                <c:pt idx="1116">
                  <c:v>16244</c:v>
                </c:pt>
                <c:pt idx="1117">
                  <c:v>16245</c:v>
                </c:pt>
                <c:pt idx="1118">
                  <c:v>16246</c:v>
                </c:pt>
                <c:pt idx="1119">
                  <c:v>16247</c:v>
                </c:pt>
                <c:pt idx="1120">
                  <c:v>16248</c:v>
                </c:pt>
                <c:pt idx="1121">
                  <c:v>16251</c:v>
                </c:pt>
                <c:pt idx="1122">
                  <c:v>16252</c:v>
                </c:pt>
                <c:pt idx="1123">
                  <c:v>16253</c:v>
                </c:pt>
                <c:pt idx="1124">
                  <c:v>16254</c:v>
                </c:pt>
                <c:pt idx="1125">
                  <c:v>16255</c:v>
                </c:pt>
                <c:pt idx="1126">
                  <c:v>16258</c:v>
                </c:pt>
                <c:pt idx="1127">
                  <c:v>16259</c:v>
                </c:pt>
                <c:pt idx="1128">
                  <c:v>16260</c:v>
                </c:pt>
                <c:pt idx="1129">
                  <c:v>16261</c:v>
                </c:pt>
                <c:pt idx="1130">
                  <c:v>16262</c:v>
                </c:pt>
                <c:pt idx="1131">
                  <c:v>16265</c:v>
                </c:pt>
                <c:pt idx="1132">
                  <c:v>16266</c:v>
                </c:pt>
                <c:pt idx="1133">
                  <c:v>16267</c:v>
                </c:pt>
                <c:pt idx="1134">
                  <c:v>16268</c:v>
                </c:pt>
                <c:pt idx="1135">
                  <c:v>16269</c:v>
                </c:pt>
                <c:pt idx="1136">
                  <c:v>16272</c:v>
                </c:pt>
                <c:pt idx="1137">
                  <c:v>16273</c:v>
                </c:pt>
                <c:pt idx="1138">
                  <c:v>16274</c:v>
                </c:pt>
                <c:pt idx="1139">
                  <c:v>16275</c:v>
                </c:pt>
                <c:pt idx="1140">
                  <c:v>16276</c:v>
                </c:pt>
                <c:pt idx="1141">
                  <c:v>16279</c:v>
                </c:pt>
                <c:pt idx="1142">
                  <c:v>16280</c:v>
                </c:pt>
                <c:pt idx="1143">
                  <c:v>16281</c:v>
                </c:pt>
                <c:pt idx="1144">
                  <c:v>16282</c:v>
                </c:pt>
                <c:pt idx="1145">
                  <c:v>16283</c:v>
                </c:pt>
                <c:pt idx="1146">
                  <c:v>16287</c:v>
                </c:pt>
                <c:pt idx="1147">
                  <c:v>16288</c:v>
                </c:pt>
                <c:pt idx="1148">
                  <c:v>16289</c:v>
                </c:pt>
                <c:pt idx="1149">
                  <c:v>16290</c:v>
                </c:pt>
                <c:pt idx="1150">
                  <c:v>16293</c:v>
                </c:pt>
                <c:pt idx="1151">
                  <c:v>16294</c:v>
                </c:pt>
                <c:pt idx="1152">
                  <c:v>16295</c:v>
                </c:pt>
                <c:pt idx="1153">
                  <c:v>16296</c:v>
                </c:pt>
                <c:pt idx="1154">
                  <c:v>16297</c:v>
                </c:pt>
                <c:pt idx="1155">
                  <c:v>16300</c:v>
                </c:pt>
                <c:pt idx="1156">
                  <c:v>16301</c:v>
                </c:pt>
                <c:pt idx="1157">
                  <c:v>16302</c:v>
                </c:pt>
                <c:pt idx="1158">
                  <c:v>16303</c:v>
                </c:pt>
                <c:pt idx="1159">
                  <c:v>16304</c:v>
                </c:pt>
                <c:pt idx="1160">
                  <c:v>16307</c:v>
                </c:pt>
                <c:pt idx="1161">
                  <c:v>16308</c:v>
                </c:pt>
                <c:pt idx="1162">
                  <c:v>16309</c:v>
                </c:pt>
                <c:pt idx="1163">
                  <c:v>16310</c:v>
                </c:pt>
                <c:pt idx="1164">
                  <c:v>16311</c:v>
                </c:pt>
                <c:pt idx="1165">
                  <c:v>16314</c:v>
                </c:pt>
                <c:pt idx="1166">
                  <c:v>16315</c:v>
                </c:pt>
                <c:pt idx="1167">
                  <c:v>16316</c:v>
                </c:pt>
                <c:pt idx="1168">
                  <c:v>16317</c:v>
                </c:pt>
                <c:pt idx="1169">
                  <c:v>16318</c:v>
                </c:pt>
                <c:pt idx="1170">
                  <c:v>16321</c:v>
                </c:pt>
                <c:pt idx="1171">
                  <c:v>16322</c:v>
                </c:pt>
                <c:pt idx="1172">
                  <c:v>16323</c:v>
                </c:pt>
                <c:pt idx="1173">
                  <c:v>16324</c:v>
                </c:pt>
                <c:pt idx="1174">
                  <c:v>16325</c:v>
                </c:pt>
                <c:pt idx="1175">
                  <c:v>16328</c:v>
                </c:pt>
                <c:pt idx="1176">
                  <c:v>16329</c:v>
                </c:pt>
                <c:pt idx="1177">
                  <c:v>16330</c:v>
                </c:pt>
                <c:pt idx="1178">
                  <c:v>16331</c:v>
                </c:pt>
                <c:pt idx="1179">
                  <c:v>16332</c:v>
                </c:pt>
                <c:pt idx="1180">
                  <c:v>16335</c:v>
                </c:pt>
                <c:pt idx="1181">
                  <c:v>16336</c:v>
                </c:pt>
                <c:pt idx="1182">
                  <c:v>16337</c:v>
                </c:pt>
                <c:pt idx="1183">
                  <c:v>16338</c:v>
                </c:pt>
                <c:pt idx="1184">
                  <c:v>16339</c:v>
                </c:pt>
                <c:pt idx="1185">
                  <c:v>16342</c:v>
                </c:pt>
                <c:pt idx="1186">
                  <c:v>16343</c:v>
                </c:pt>
                <c:pt idx="1187">
                  <c:v>16344</c:v>
                </c:pt>
                <c:pt idx="1188">
                  <c:v>16345</c:v>
                </c:pt>
                <c:pt idx="1189">
                  <c:v>16346</c:v>
                </c:pt>
                <c:pt idx="1190">
                  <c:v>16349</c:v>
                </c:pt>
                <c:pt idx="1191">
                  <c:v>16350</c:v>
                </c:pt>
                <c:pt idx="1192">
                  <c:v>16351</c:v>
                </c:pt>
                <c:pt idx="1193">
                  <c:v>16352</c:v>
                </c:pt>
                <c:pt idx="1194">
                  <c:v>16353</c:v>
                </c:pt>
                <c:pt idx="1195">
                  <c:v>16356</c:v>
                </c:pt>
                <c:pt idx="1196">
                  <c:v>16357</c:v>
                </c:pt>
                <c:pt idx="1197">
                  <c:v>16358</c:v>
                </c:pt>
                <c:pt idx="1198">
                  <c:v>16359</c:v>
                </c:pt>
                <c:pt idx="1199">
                  <c:v>16360</c:v>
                </c:pt>
                <c:pt idx="1200">
                  <c:v>16363</c:v>
                </c:pt>
                <c:pt idx="1201">
                  <c:v>16364</c:v>
                </c:pt>
                <c:pt idx="1202">
                  <c:v>16365</c:v>
                </c:pt>
                <c:pt idx="1203">
                  <c:v>16366</c:v>
                </c:pt>
                <c:pt idx="1204">
                  <c:v>16367</c:v>
                </c:pt>
                <c:pt idx="1205">
                  <c:v>16370</c:v>
                </c:pt>
                <c:pt idx="1206">
                  <c:v>16371</c:v>
                </c:pt>
                <c:pt idx="1207">
                  <c:v>16372</c:v>
                </c:pt>
                <c:pt idx="1208">
                  <c:v>16373</c:v>
                </c:pt>
                <c:pt idx="1209">
                  <c:v>16374</c:v>
                </c:pt>
                <c:pt idx="1210">
                  <c:v>16377</c:v>
                </c:pt>
                <c:pt idx="1211">
                  <c:v>16378</c:v>
                </c:pt>
                <c:pt idx="1212">
                  <c:v>16379</c:v>
                </c:pt>
                <c:pt idx="1213">
                  <c:v>16380</c:v>
                </c:pt>
                <c:pt idx="1214">
                  <c:v>16381</c:v>
                </c:pt>
                <c:pt idx="1215">
                  <c:v>16384</c:v>
                </c:pt>
                <c:pt idx="1216">
                  <c:v>16385</c:v>
                </c:pt>
                <c:pt idx="1217">
                  <c:v>16386</c:v>
                </c:pt>
                <c:pt idx="1218">
                  <c:v>16387</c:v>
                </c:pt>
                <c:pt idx="1219">
                  <c:v>16388</c:v>
                </c:pt>
                <c:pt idx="1220">
                  <c:v>16391</c:v>
                </c:pt>
                <c:pt idx="1221">
                  <c:v>16392</c:v>
                </c:pt>
                <c:pt idx="1222">
                  <c:v>16393</c:v>
                </c:pt>
                <c:pt idx="1223">
                  <c:v>16394</c:v>
                </c:pt>
                <c:pt idx="1224">
                  <c:v>16395</c:v>
                </c:pt>
                <c:pt idx="1225">
                  <c:v>16398</c:v>
                </c:pt>
                <c:pt idx="1226">
                  <c:v>16399</c:v>
                </c:pt>
                <c:pt idx="1227">
                  <c:v>16400</c:v>
                </c:pt>
                <c:pt idx="1228">
                  <c:v>16401</c:v>
                </c:pt>
                <c:pt idx="1229">
                  <c:v>16402</c:v>
                </c:pt>
                <c:pt idx="1230">
                  <c:v>16405</c:v>
                </c:pt>
                <c:pt idx="1231">
                  <c:v>16406</c:v>
                </c:pt>
                <c:pt idx="1232">
                  <c:v>16407</c:v>
                </c:pt>
                <c:pt idx="1233">
                  <c:v>16408</c:v>
                </c:pt>
                <c:pt idx="1234">
                  <c:v>16409</c:v>
                </c:pt>
                <c:pt idx="1235">
                  <c:v>16412</c:v>
                </c:pt>
                <c:pt idx="1236">
                  <c:v>16413</c:v>
                </c:pt>
                <c:pt idx="1237">
                  <c:v>16414</c:v>
                </c:pt>
                <c:pt idx="1238">
                  <c:v>16415</c:v>
                </c:pt>
                <c:pt idx="1239">
                  <c:v>16416</c:v>
                </c:pt>
                <c:pt idx="1240">
                  <c:v>16419</c:v>
                </c:pt>
                <c:pt idx="1241">
                  <c:v>16420</c:v>
                </c:pt>
                <c:pt idx="1242">
                  <c:v>16421</c:v>
                </c:pt>
                <c:pt idx="1243">
                  <c:v>16422</c:v>
                </c:pt>
                <c:pt idx="1244">
                  <c:v>16423</c:v>
                </c:pt>
                <c:pt idx="1245">
                  <c:v>16426</c:v>
                </c:pt>
                <c:pt idx="1246">
                  <c:v>16427</c:v>
                </c:pt>
                <c:pt idx="1247">
                  <c:v>16433</c:v>
                </c:pt>
                <c:pt idx="1248">
                  <c:v>16434</c:v>
                </c:pt>
                <c:pt idx="1249">
                  <c:v>16435</c:v>
                </c:pt>
                <c:pt idx="1250">
                  <c:v>16436</c:v>
                </c:pt>
                <c:pt idx="1251">
                  <c:v>16440</c:v>
                </c:pt>
                <c:pt idx="1252">
                  <c:v>16441</c:v>
                </c:pt>
                <c:pt idx="1253">
                  <c:v>16442</c:v>
                </c:pt>
                <c:pt idx="1254">
                  <c:v>16443</c:v>
                </c:pt>
                <c:pt idx="1255">
                  <c:v>16444</c:v>
                </c:pt>
                <c:pt idx="1256">
                  <c:v>16447</c:v>
                </c:pt>
                <c:pt idx="1257">
                  <c:v>16448</c:v>
                </c:pt>
                <c:pt idx="1258">
                  <c:v>16449</c:v>
                </c:pt>
                <c:pt idx="1259">
                  <c:v>16450</c:v>
                </c:pt>
                <c:pt idx="1260">
                  <c:v>16451</c:v>
                </c:pt>
                <c:pt idx="1261">
                  <c:v>16454</c:v>
                </c:pt>
                <c:pt idx="1262">
                  <c:v>16455</c:v>
                </c:pt>
                <c:pt idx="1263">
                  <c:v>16456</c:v>
                </c:pt>
                <c:pt idx="1264">
                  <c:v>16457</c:v>
                </c:pt>
                <c:pt idx="1265">
                  <c:v>16458</c:v>
                </c:pt>
                <c:pt idx="1266">
                  <c:v>16461</c:v>
                </c:pt>
                <c:pt idx="1267">
                  <c:v>16462</c:v>
                </c:pt>
                <c:pt idx="1268">
                  <c:v>16463</c:v>
                </c:pt>
                <c:pt idx="1269">
                  <c:v>16464</c:v>
                </c:pt>
                <c:pt idx="1270">
                  <c:v>16465</c:v>
                </c:pt>
                <c:pt idx="1271">
                  <c:v>16468</c:v>
                </c:pt>
                <c:pt idx="1272">
                  <c:v>16469</c:v>
                </c:pt>
                <c:pt idx="1273">
                  <c:v>16470</c:v>
                </c:pt>
                <c:pt idx="1274">
                  <c:v>16471</c:v>
                </c:pt>
                <c:pt idx="1275">
                  <c:v>16472</c:v>
                </c:pt>
                <c:pt idx="1276">
                  <c:v>16475</c:v>
                </c:pt>
                <c:pt idx="1277">
                  <c:v>16476</c:v>
                </c:pt>
                <c:pt idx="1278">
                  <c:v>16477</c:v>
                </c:pt>
                <c:pt idx="1279">
                  <c:v>16478</c:v>
                </c:pt>
                <c:pt idx="1280">
                  <c:v>16479</c:v>
                </c:pt>
                <c:pt idx="1281">
                  <c:v>16482</c:v>
                </c:pt>
                <c:pt idx="1282">
                  <c:v>16483</c:v>
                </c:pt>
                <c:pt idx="1283">
                  <c:v>16484</c:v>
                </c:pt>
                <c:pt idx="1284">
                  <c:v>16485</c:v>
                </c:pt>
                <c:pt idx="1285">
                  <c:v>16486</c:v>
                </c:pt>
                <c:pt idx="1286">
                  <c:v>16489</c:v>
                </c:pt>
                <c:pt idx="1287">
                  <c:v>16490</c:v>
                </c:pt>
                <c:pt idx="1288">
                  <c:v>16491</c:v>
                </c:pt>
                <c:pt idx="1289">
                  <c:v>16492</c:v>
                </c:pt>
                <c:pt idx="1290">
                  <c:v>16493</c:v>
                </c:pt>
                <c:pt idx="1291">
                  <c:v>16496</c:v>
                </c:pt>
                <c:pt idx="1292">
                  <c:v>16497</c:v>
                </c:pt>
                <c:pt idx="1293">
                  <c:v>16498</c:v>
                </c:pt>
                <c:pt idx="1294">
                  <c:v>16499</c:v>
                </c:pt>
                <c:pt idx="1295">
                  <c:v>16500</c:v>
                </c:pt>
                <c:pt idx="1296">
                  <c:v>16503</c:v>
                </c:pt>
                <c:pt idx="1297">
                  <c:v>16504</c:v>
                </c:pt>
                <c:pt idx="1298">
                  <c:v>16505</c:v>
                </c:pt>
                <c:pt idx="1299">
                  <c:v>16506</c:v>
                </c:pt>
                <c:pt idx="1300">
                  <c:v>16507</c:v>
                </c:pt>
                <c:pt idx="1301">
                  <c:v>16510</c:v>
                </c:pt>
                <c:pt idx="1302">
                  <c:v>16511</c:v>
                </c:pt>
                <c:pt idx="1303">
                  <c:v>16512</c:v>
                </c:pt>
                <c:pt idx="1304">
                  <c:v>16513</c:v>
                </c:pt>
                <c:pt idx="1305">
                  <c:v>16514</c:v>
                </c:pt>
                <c:pt idx="1306">
                  <c:v>16517</c:v>
                </c:pt>
                <c:pt idx="1307">
                  <c:v>16518</c:v>
                </c:pt>
                <c:pt idx="1308">
                  <c:v>16519</c:v>
                </c:pt>
                <c:pt idx="1309">
                  <c:v>16520</c:v>
                </c:pt>
                <c:pt idx="1310">
                  <c:v>16521</c:v>
                </c:pt>
                <c:pt idx="1311">
                  <c:v>16524</c:v>
                </c:pt>
                <c:pt idx="1312">
                  <c:v>16525</c:v>
                </c:pt>
                <c:pt idx="1313">
                  <c:v>16526</c:v>
                </c:pt>
                <c:pt idx="1314">
                  <c:v>16532</c:v>
                </c:pt>
                <c:pt idx="1315">
                  <c:v>16533</c:v>
                </c:pt>
                <c:pt idx="1316">
                  <c:v>16534</c:v>
                </c:pt>
                <c:pt idx="1317">
                  <c:v>16535</c:v>
                </c:pt>
                <c:pt idx="1318">
                  <c:v>16538</c:v>
                </c:pt>
                <c:pt idx="1319">
                  <c:v>16539</c:v>
                </c:pt>
                <c:pt idx="1320">
                  <c:v>16540</c:v>
                </c:pt>
                <c:pt idx="1321">
                  <c:v>16541</c:v>
                </c:pt>
                <c:pt idx="1322">
                  <c:v>16542</c:v>
                </c:pt>
                <c:pt idx="1323">
                  <c:v>16545</c:v>
                </c:pt>
                <c:pt idx="1324">
                  <c:v>16546</c:v>
                </c:pt>
                <c:pt idx="1325">
                  <c:v>16547</c:v>
                </c:pt>
                <c:pt idx="1326">
                  <c:v>16549</c:v>
                </c:pt>
                <c:pt idx="1327">
                  <c:v>16552</c:v>
                </c:pt>
                <c:pt idx="1328">
                  <c:v>16553</c:v>
                </c:pt>
                <c:pt idx="1329">
                  <c:v>16554</c:v>
                </c:pt>
                <c:pt idx="1330">
                  <c:v>16555</c:v>
                </c:pt>
                <c:pt idx="1331">
                  <c:v>16559</c:v>
                </c:pt>
                <c:pt idx="1332">
                  <c:v>16560</c:v>
                </c:pt>
                <c:pt idx="1333">
                  <c:v>16561</c:v>
                </c:pt>
                <c:pt idx="1334">
                  <c:v>16562</c:v>
                </c:pt>
                <c:pt idx="1335">
                  <c:v>16563</c:v>
                </c:pt>
                <c:pt idx="1336">
                  <c:v>16566</c:v>
                </c:pt>
                <c:pt idx="1337">
                  <c:v>16567</c:v>
                </c:pt>
                <c:pt idx="1338">
                  <c:v>16568</c:v>
                </c:pt>
                <c:pt idx="1339">
                  <c:v>16570</c:v>
                </c:pt>
                <c:pt idx="1340">
                  <c:v>16573</c:v>
                </c:pt>
                <c:pt idx="1341">
                  <c:v>16574</c:v>
                </c:pt>
                <c:pt idx="1342">
                  <c:v>16575</c:v>
                </c:pt>
                <c:pt idx="1343">
                  <c:v>16576</c:v>
                </c:pt>
                <c:pt idx="1344">
                  <c:v>16577</c:v>
                </c:pt>
                <c:pt idx="1345">
                  <c:v>16581</c:v>
                </c:pt>
                <c:pt idx="1346">
                  <c:v>16582</c:v>
                </c:pt>
                <c:pt idx="1347">
                  <c:v>16583</c:v>
                </c:pt>
                <c:pt idx="1348">
                  <c:v>16584</c:v>
                </c:pt>
                <c:pt idx="1349">
                  <c:v>16587</c:v>
                </c:pt>
                <c:pt idx="1350">
                  <c:v>16588</c:v>
                </c:pt>
                <c:pt idx="1351">
                  <c:v>16589</c:v>
                </c:pt>
                <c:pt idx="1352">
                  <c:v>16590</c:v>
                </c:pt>
                <c:pt idx="1353">
                  <c:v>16591</c:v>
                </c:pt>
                <c:pt idx="1354">
                  <c:v>16594</c:v>
                </c:pt>
                <c:pt idx="1355">
                  <c:v>16595</c:v>
                </c:pt>
                <c:pt idx="1356">
                  <c:v>16596</c:v>
                </c:pt>
                <c:pt idx="1357">
                  <c:v>16597</c:v>
                </c:pt>
                <c:pt idx="1358">
                  <c:v>16598</c:v>
                </c:pt>
                <c:pt idx="1359">
                  <c:v>16601</c:v>
                </c:pt>
                <c:pt idx="1360">
                  <c:v>16602</c:v>
                </c:pt>
                <c:pt idx="1361">
                  <c:v>16604</c:v>
                </c:pt>
                <c:pt idx="1362">
                  <c:v>16605</c:v>
                </c:pt>
                <c:pt idx="1363">
                  <c:v>16608</c:v>
                </c:pt>
                <c:pt idx="1364">
                  <c:v>16609</c:v>
                </c:pt>
                <c:pt idx="1365">
                  <c:v>16610</c:v>
                </c:pt>
                <c:pt idx="1366">
                  <c:v>16611</c:v>
                </c:pt>
                <c:pt idx="1367">
                  <c:v>16612</c:v>
                </c:pt>
                <c:pt idx="1368">
                  <c:v>16615</c:v>
                </c:pt>
                <c:pt idx="1369">
                  <c:v>16616</c:v>
                </c:pt>
                <c:pt idx="1370">
                  <c:v>16617</c:v>
                </c:pt>
                <c:pt idx="1371">
                  <c:v>16618</c:v>
                </c:pt>
                <c:pt idx="1372">
                  <c:v>16619</c:v>
                </c:pt>
                <c:pt idx="1373">
                  <c:v>16622</c:v>
                </c:pt>
                <c:pt idx="1374">
                  <c:v>16623</c:v>
                </c:pt>
                <c:pt idx="1375">
                  <c:v>16624</c:v>
                </c:pt>
                <c:pt idx="1376">
                  <c:v>16625</c:v>
                </c:pt>
                <c:pt idx="1377">
                  <c:v>16626</c:v>
                </c:pt>
                <c:pt idx="1378">
                  <c:v>16629</c:v>
                </c:pt>
                <c:pt idx="1379">
                  <c:v>16630</c:v>
                </c:pt>
                <c:pt idx="1380">
                  <c:v>16631</c:v>
                </c:pt>
                <c:pt idx="1381">
                  <c:v>16632</c:v>
                </c:pt>
                <c:pt idx="1382">
                  <c:v>16633</c:v>
                </c:pt>
                <c:pt idx="1383">
                  <c:v>16636</c:v>
                </c:pt>
                <c:pt idx="1384">
                  <c:v>16637</c:v>
                </c:pt>
                <c:pt idx="1385">
                  <c:v>16638</c:v>
                </c:pt>
                <c:pt idx="1386">
                  <c:v>16639</c:v>
                </c:pt>
                <c:pt idx="1387">
                  <c:v>16640</c:v>
                </c:pt>
                <c:pt idx="1388">
                  <c:v>16643</c:v>
                </c:pt>
                <c:pt idx="1389">
                  <c:v>16644</c:v>
                </c:pt>
                <c:pt idx="1390">
                  <c:v>16645</c:v>
                </c:pt>
                <c:pt idx="1391">
                  <c:v>16646</c:v>
                </c:pt>
                <c:pt idx="1392">
                  <c:v>16647</c:v>
                </c:pt>
                <c:pt idx="1393">
                  <c:v>16651</c:v>
                </c:pt>
                <c:pt idx="1394">
                  <c:v>16652</c:v>
                </c:pt>
                <c:pt idx="1395">
                  <c:v>16653</c:v>
                </c:pt>
                <c:pt idx="1396">
                  <c:v>16654</c:v>
                </c:pt>
                <c:pt idx="1397">
                  <c:v>16657</c:v>
                </c:pt>
                <c:pt idx="1398">
                  <c:v>16658</c:v>
                </c:pt>
                <c:pt idx="1399">
                  <c:v>16659</c:v>
                </c:pt>
                <c:pt idx="1400">
                  <c:v>16660</c:v>
                </c:pt>
                <c:pt idx="1401">
                  <c:v>16661</c:v>
                </c:pt>
                <c:pt idx="1402">
                  <c:v>16664</c:v>
                </c:pt>
                <c:pt idx="1403">
                  <c:v>16665</c:v>
                </c:pt>
                <c:pt idx="1404">
                  <c:v>16666</c:v>
                </c:pt>
                <c:pt idx="1405">
                  <c:v>16667</c:v>
                </c:pt>
                <c:pt idx="1406">
                  <c:v>16668</c:v>
                </c:pt>
                <c:pt idx="1407">
                  <c:v>16671</c:v>
                </c:pt>
                <c:pt idx="1408">
                  <c:v>16672</c:v>
                </c:pt>
                <c:pt idx="1409">
                  <c:v>16673</c:v>
                </c:pt>
                <c:pt idx="1410">
                  <c:v>16674</c:v>
                </c:pt>
                <c:pt idx="1411">
                  <c:v>16675</c:v>
                </c:pt>
                <c:pt idx="1412">
                  <c:v>16678</c:v>
                </c:pt>
                <c:pt idx="1413">
                  <c:v>16679</c:v>
                </c:pt>
                <c:pt idx="1414">
                  <c:v>16680</c:v>
                </c:pt>
                <c:pt idx="1415">
                  <c:v>16681</c:v>
                </c:pt>
                <c:pt idx="1416">
                  <c:v>16682</c:v>
                </c:pt>
                <c:pt idx="1417">
                  <c:v>16685</c:v>
                </c:pt>
                <c:pt idx="1418">
                  <c:v>16686</c:v>
                </c:pt>
                <c:pt idx="1419">
                  <c:v>16687</c:v>
                </c:pt>
                <c:pt idx="1420">
                  <c:v>16688</c:v>
                </c:pt>
                <c:pt idx="1421">
                  <c:v>16689</c:v>
                </c:pt>
                <c:pt idx="1422">
                  <c:v>16692</c:v>
                </c:pt>
                <c:pt idx="1423">
                  <c:v>16693</c:v>
                </c:pt>
                <c:pt idx="1424">
                  <c:v>16694</c:v>
                </c:pt>
                <c:pt idx="1425">
                  <c:v>16695</c:v>
                </c:pt>
                <c:pt idx="1426">
                  <c:v>16696</c:v>
                </c:pt>
                <c:pt idx="1427">
                  <c:v>16699</c:v>
                </c:pt>
                <c:pt idx="1428">
                  <c:v>16700</c:v>
                </c:pt>
                <c:pt idx="1429">
                  <c:v>16701</c:v>
                </c:pt>
                <c:pt idx="1430">
                  <c:v>16702</c:v>
                </c:pt>
                <c:pt idx="1431">
                  <c:v>16703</c:v>
                </c:pt>
                <c:pt idx="1432">
                  <c:v>16706</c:v>
                </c:pt>
                <c:pt idx="1433">
                  <c:v>16707</c:v>
                </c:pt>
                <c:pt idx="1434">
                  <c:v>16708</c:v>
                </c:pt>
                <c:pt idx="1435">
                  <c:v>16709</c:v>
                </c:pt>
                <c:pt idx="1436">
                  <c:v>16710</c:v>
                </c:pt>
                <c:pt idx="1437">
                  <c:v>16713</c:v>
                </c:pt>
                <c:pt idx="1438">
                  <c:v>16714</c:v>
                </c:pt>
                <c:pt idx="1439">
                  <c:v>16715</c:v>
                </c:pt>
                <c:pt idx="1440">
                  <c:v>16716</c:v>
                </c:pt>
                <c:pt idx="1441">
                  <c:v>16717</c:v>
                </c:pt>
                <c:pt idx="1442">
                  <c:v>16720</c:v>
                </c:pt>
                <c:pt idx="1443">
                  <c:v>16721</c:v>
                </c:pt>
                <c:pt idx="1444">
                  <c:v>16722</c:v>
                </c:pt>
                <c:pt idx="1445">
                  <c:v>16723</c:v>
                </c:pt>
                <c:pt idx="1446">
                  <c:v>16724</c:v>
                </c:pt>
                <c:pt idx="1447">
                  <c:v>16727</c:v>
                </c:pt>
                <c:pt idx="1448">
                  <c:v>16728</c:v>
                </c:pt>
                <c:pt idx="1449">
                  <c:v>16729</c:v>
                </c:pt>
                <c:pt idx="1450">
                  <c:v>16730</c:v>
                </c:pt>
                <c:pt idx="1451">
                  <c:v>16731</c:v>
                </c:pt>
                <c:pt idx="1452">
                  <c:v>16734</c:v>
                </c:pt>
                <c:pt idx="1453">
                  <c:v>16735</c:v>
                </c:pt>
                <c:pt idx="1454">
                  <c:v>16736</c:v>
                </c:pt>
                <c:pt idx="1455">
                  <c:v>16737</c:v>
                </c:pt>
                <c:pt idx="1456">
                  <c:v>16738</c:v>
                </c:pt>
                <c:pt idx="1457">
                  <c:v>16741</c:v>
                </c:pt>
                <c:pt idx="1458">
                  <c:v>16742</c:v>
                </c:pt>
                <c:pt idx="1459">
                  <c:v>16743</c:v>
                </c:pt>
                <c:pt idx="1460">
                  <c:v>16744</c:v>
                </c:pt>
                <c:pt idx="1461">
                  <c:v>16745</c:v>
                </c:pt>
                <c:pt idx="1462">
                  <c:v>16748</c:v>
                </c:pt>
                <c:pt idx="1463">
                  <c:v>16749</c:v>
                </c:pt>
                <c:pt idx="1464">
                  <c:v>16750</c:v>
                </c:pt>
                <c:pt idx="1465">
                  <c:v>16751</c:v>
                </c:pt>
                <c:pt idx="1466">
                  <c:v>16752</c:v>
                </c:pt>
                <c:pt idx="1467">
                  <c:v>16755</c:v>
                </c:pt>
                <c:pt idx="1468">
                  <c:v>16756</c:v>
                </c:pt>
                <c:pt idx="1469">
                  <c:v>16757</c:v>
                </c:pt>
                <c:pt idx="1470">
                  <c:v>16758</c:v>
                </c:pt>
                <c:pt idx="1471">
                  <c:v>16759</c:v>
                </c:pt>
                <c:pt idx="1472">
                  <c:v>16762</c:v>
                </c:pt>
                <c:pt idx="1473">
                  <c:v>16763</c:v>
                </c:pt>
                <c:pt idx="1474">
                  <c:v>16764</c:v>
                </c:pt>
                <c:pt idx="1475">
                  <c:v>16765</c:v>
                </c:pt>
                <c:pt idx="1476">
                  <c:v>16766</c:v>
                </c:pt>
                <c:pt idx="1477">
                  <c:v>16769</c:v>
                </c:pt>
                <c:pt idx="1478">
                  <c:v>16770</c:v>
                </c:pt>
                <c:pt idx="1479">
                  <c:v>16771</c:v>
                </c:pt>
                <c:pt idx="1480">
                  <c:v>16772</c:v>
                </c:pt>
                <c:pt idx="1481">
                  <c:v>16773</c:v>
                </c:pt>
                <c:pt idx="1482">
                  <c:v>16776</c:v>
                </c:pt>
                <c:pt idx="1483">
                  <c:v>16777</c:v>
                </c:pt>
                <c:pt idx="1484">
                  <c:v>16778</c:v>
                </c:pt>
                <c:pt idx="1485">
                  <c:v>16779</c:v>
                </c:pt>
                <c:pt idx="1486">
                  <c:v>16780</c:v>
                </c:pt>
                <c:pt idx="1487">
                  <c:v>16783</c:v>
                </c:pt>
                <c:pt idx="1488">
                  <c:v>16784</c:v>
                </c:pt>
                <c:pt idx="1489">
                  <c:v>16785</c:v>
                </c:pt>
                <c:pt idx="1490">
                  <c:v>16786</c:v>
                </c:pt>
                <c:pt idx="1491">
                  <c:v>16787</c:v>
                </c:pt>
                <c:pt idx="1492">
                  <c:v>16790</c:v>
                </c:pt>
                <c:pt idx="1493">
                  <c:v>16791</c:v>
                </c:pt>
                <c:pt idx="1494">
                  <c:v>16792</c:v>
                </c:pt>
                <c:pt idx="1495">
                  <c:v>16797</c:v>
                </c:pt>
                <c:pt idx="1496">
                  <c:v>16798</c:v>
                </c:pt>
                <c:pt idx="1497">
                  <c:v>16799</c:v>
                </c:pt>
                <c:pt idx="1498">
                  <c:v>16800</c:v>
                </c:pt>
                <c:pt idx="1499">
                  <c:v>16801</c:v>
                </c:pt>
                <c:pt idx="1500">
                  <c:v>16804</c:v>
                </c:pt>
                <c:pt idx="1501">
                  <c:v>16805</c:v>
                </c:pt>
                <c:pt idx="1502">
                  <c:v>16806</c:v>
                </c:pt>
                <c:pt idx="1503">
                  <c:v>16807</c:v>
                </c:pt>
                <c:pt idx="1504">
                  <c:v>16808</c:v>
                </c:pt>
                <c:pt idx="1505">
                  <c:v>16811</c:v>
                </c:pt>
                <c:pt idx="1506">
                  <c:v>16812</c:v>
                </c:pt>
                <c:pt idx="1507">
                  <c:v>16813</c:v>
                </c:pt>
                <c:pt idx="1508">
                  <c:v>16814</c:v>
                </c:pt>
                <c:pt idx="1509">
                  <c:v>16815</c:v>
                </c:pt>
                <c:pt idx="1510">
                  <c:v>16818</c:v>
                </c:pt>
                <c:pt idx="1511">
                  <c:v>16819</c:v>
                </c:pt>
                <c:pt idx="1512">
                  <c:v>16820</c:v>
                </c:pt>
                <c:pt idx="1513">
                  <c:v>16821</c:v>
                </c:pt>
                <c:pt idx="1514">
                  <c:v>16822</c:v>
                </c:pt>
                <c:pt idx="1515">
                  <c:v>16825</c:v>
                </c:pt>
                <c:pt idx="1516">
                  <c:v>16826</c:v>
                </c:pt>
                <c:pt idx="1517">
                  <c:v>16827</c:v>
                </c:pt>
                <c:pt idx="1518">
                  <c:v>16828</c:v>
                </c:pt>
                <c:pt idx="1519">
                  <c:v>16829</c:v>
                </c:pt>
                <c:pt idx="1520">
                  <c:v>16832</c:v>
                </c:pt>
                <c:pt idx="1521">
                  <c:v>16833</c:v>
                </c:pt>
                <c:pt idx="1522">
                  <c:v>16834</c:v>
                </c:pt>
                <c:pt idx="1523">
                  <c:v>16835</c:v>
                </c:pt>
                <c:pt idx="1524">
                  <c:v>16836</c:v>
                </c:pt>
                <c:pt idx="1525">
                  <c:v>16839</c:v>
                </c:pt>
                <c:pt idx="1526">
                  <c:v>16840</c:v>
                </c:pt>
                <c:pt idx="1527">
                  <c:v>16841</c:v>
                </c:pt>
                <c:pt idx="1528">
                  <c:v>16842</c:v>
                </c:pt>
                <c:pt idx="1529">
                  <c:v>16843</c:v>
                </c:pt>
                <c:pt idx="1530">
                  <c:v>16846</c:v>
                </c:pt>
                <c:pt idx="1531">
                  <c:v>16847</c:v>
                </c:pt>
                <c:pt idx="1532">
                  <c:v>16848</c:v>
                </c:pt>
                <c:pt idx="1533">
                  <c:v>16849</c:v>
                </c:pt>
                <c:pt idx="1534">
                  <c:v>16850</c:v>
                </c:pt>
                <c:pt idx="1535">
                  <c:v>16853</c:v>
                </c:pt>
                <c:pt idx="1536">
                  <c:v>16854</c:v>
                </c:pt>
                <c:pt idx="1537">
                  <c:v>16855</c:v>
                </c:pt>
                <c:pt idx="1538">
                  <c:v>16856</c:v>
                </c:pt>
                <c:pt idx="1539">
                  <c:v>16857</c:v>
                </c:pt>
                <c:pt idx="1540">
                  <c:v>16860</c:v>
                </c:pt>
                <c:pt idx="1541">
                  <c:v>16861</c:v>
                </c:pt>
                <c:pt idx="1542">
                  <c:v>16862</c:v>
                </c:pt>
                <c:pt idx="1543">
                  <c:v>16863</c:v>
                </c:pt>
                <c:pt idx="1544">
                  <c:v>16864</c:v>
                </c:pt>
                <c:pt idx="1545">
                  <c:v>16867</c:v>
                </c:pt>
                <c:pt idx="1546">
                  <c:v>16868</c:v>
                </c:pt>
                <c:pt idx="1547">
                  <c:v>16869</c:v>
                </c:pt>
                <c:pt idx="1548">
                  <c:v>16870</c:v>
                </c:pt>
                <c:pt idx="1549">
                  <c:v>16871</c:v>
                </c:pt>
                <c:pt idx="1550">
                  <c:v>16874</c:v>
                </c:pt>
                <c:pt idx="1551">
                  <c:v>16875</c:v>
                </c:pt>
                <c:pt idx="1552">
                  <c:v>16876</c:v>
                </c:pt>
                <c:pt idx="1553">
                  <c:v>16877</c:v>
                </c:pt>
                <c:pt idx="1554">
                  <c:v>16878</c:v>
                </c:pt>
                <c:pt idx="1555">
                  <c:v>16881</c:v>
                </c:pt>
                <c:pt idx="1556">
                  <c:v>16882</c:v>
                </c:pt>
                <c:pt idx="1557">
                  <c:v>16883</c:v>
                </c:pt>
                <c:pt idx="1558">
                  <c:v>16889</c:v>
                </c:pt>
                <c:pt idx="1559">
                  <c:v>16890</c:v>
                </c:pt>
                <c:pt idx="1560">
                  <c:v>16891</c:v>
                </c:pt>
                <c:pt idx="1561">
                  <c:v>16892</c:v>
                </c:pt>
                <c:pt idx="1562">
                  <c:v>16895</c:v>
                </c:pt>
                <c:pt idx="1563">
                  <c:v>16896</c:v>
                </c:pt>
                <c:pt idx="1564">
                  <c:v>16897</c:v>
                </c:pt>
                <c:pt idx="1565">
                  <c:v>16898</c:v>
                </c:pt>
                <c:pt idx="1566">
                  <c:v>16899</c:v>
                </c:pt>
                <c:pt idx="1567">
                  <c:v>16902</c:v>
                </c:pt>
                <c:pt idx="1568">
                  <c:v>16903</c:v>
                </c:pt>
                <c:pt idx="1569">
                  <c:v>16904</c:v>
                </c:pt>
                <c:pt idx="1570">
                  <c:v>16905</c:v>
                </c:pt>
                <c:pt idx="1571">
                  <c:v>16906</c:v>
                </c:pt>
                <c:pt idx="1572">
                  <c:v>16909</c:v>
                </c:pt>
                <c:pt idx="1573">
                  <c:v>16910</c:v>
                </c:pt>
                <c:pt idx="1574">
                  <c:v>16911</c:v>
                </c:pt>
                <c:pt idx="1575">
                  <c:v>16913</c:v>
                </c:pt>
                <c:pt idx="1576">
                  <c:v>16916</c:v>
                </c:pt>
                <c:pt idx="1577">
                  <c:v>16917</c:v>
                </c:pt>
                <c:pt idx="1578">
                  <c:v>16918</c:v>
                </c:pt>
                <c:pt idx="1579">
                  <c:v>16919</c:v>
                </c:pt>
                <c:pt idx="1580">
                  <c:v>16920</c:v>
                </c:pt>
                <c:pt idx="1581">
                  <c:v>16923</c:v>
                </c:pt>
                <c:pt idx="1582">
                  <c:v>16924</c:v>
                </c:pt>
                <c:pt idx="1583">
                  <c:v>16925</c:v>
                </c:pt>
                <c:pt idx="1584">
                  <c:v>16927</c:v>
                </c:pt>
                <c:pt idx="1585">
                  <c:v>16930</c:v>
                </c:pt>
                <c:pt idx="1586">
                  <c:v>16931</c:v>
                </c:pt>
                <c:pt idx="1587">
                  <c:v>16932</c:v>
                </c:pt>
                <c:pt idx="1588">
                  <c:v>16933</c:v>
                </c:pt>
                <c:pt idx="1589">
                  <c:v>16934</c:v>
                </c:pt>
                <c:pt idx="1590">
                  <c:v>16938</c:v>
                </c:pt>
                <c:pt idx="1591">
                  <c:v>16939</c:v>
                </c:pt>
                <c:pt idx="1592">
                  <c:v>16940</c:v>
                </c:pt>
                <c:pt idx="1593">
                  <c:v>16941</c:v>
                </c:pt>
                <c:pt idx="1594">
                  <c:v>16944</c:v>
                </c:pt>
                <c:pt idx="1595">
                  <c:v>16945</c:v>
                </c:pt>
                <c:pt idx="1596">
                  <c:v>16946</c:v>
                </c:pt>
                <c:pt idx="1597">
                  <c:v>16947</c:v>
                </c:pt>
                <c:pt idx="1598">
                  <c:v>16948</c:v>
                </c:pt>
                <c:pt idx="1599">
                  <c:v>16951</c:v>
                </c:pt>
                <c:pt idx="1600">
                  <c:v>16952</c:v>
                </c:pt>
                <c:pt idx="1601">
                  <c:v>16953</c:v>
                </c:pt>
                <c:pt idx="1602">
                  <c:v>16954</c:v>
                </c:pt>
                <c:pt idx="1603">
                  <c:v>16955</c:v>
                </c:pt>
                <c:pt idx="1604">
                  <c:v>16958</c:v>
                </c:pt>
                <c:pt idx="1605">
                  <c:v>16959</c:v>
                </c:pt>
                <c:pt idx="1606">
                  <c:v>16960</c:v>
                </c:pt>
                <c:pt idx="1607">
                  <c:v>16961</c:v>
                </c:pt>
                <c:pt idx="1608">
                  <c:v>16962</c:v>
                </c:pt>
                <c:pt idx="1609">
                  <c:v>16965</c:v>
                </c:pt>
                <c:pt idx="1610">
                  <c:v>16966</c:v>
                </c:pt>
                <c:pt idx="1611">
                  <c:v>16967</c:v>
                </c:pt>
                <c:pt idx="1612">
                  <c:v>16968</c:v>
                </c:pt>
                <c:pt idx="1613">
                  <c:v>16972</c:v>
                </c:pt>
                <c:pt idx="1614">
                  <c:v>16973</c:v>
                </c:pt>
                <c:pt idx="1615">
                  <c:v>16974</c:v>
                </c:pt>
                <c:pt idx="1616">
                  <c:v>16975</c:v>
                </c:pt>
                <c:pt idx="1617">
                  <c:v>16976</c:v>
                </c:pt>
                <c:pt idx="1618">
                  <c:v>16979</c:v>
                </c:pt>
                <c:pt idx="1619">
                  <c:v>16980</c:v>
                </c:pt>
                <c:pt idx="1620">
                  <c:v>16981</c:v>
                </c:pt>
                <c:pt idx="1621">
                  <c:v>16982</c:v>
                </c:pt>
                <c:pt idx="1622">
                  <c:v>16983</c:v>
                </c:pt>
                <c:pt idx="1623">
                  <c:v>16986</c:v>
                </c:pt>
                <c:pt idx="1624">
                  <c:v>16987</c:v>
                </c:pt>
                <c:pt idx="1625">
                  <c:v>16988</c:v>
                </c:pt>
                <c:pt idx="1626">
                  <c:v>16989</c:v>
                </c:pt>
                <c:pt idx="1627">
                  <c:v>16990</c:v>
                </c:pt>
                <c:pt idx="1628">
                  <c:v>16993</c:v>
                </c:pt>
                <c:pt idx="1629">
                  <c:v>16994</c:v>
                </c:pt>
                <c:pt idx="1630">
                  <c:v>16995</c:v>
                </c:pt>
                <c:pt idx="1631">
                  <c:v>16996</c:v>
                </c:pt>
                <c:pt idx="1632">
                  <c:v>16997</c:v>
                </c:pt>
                <c:pt idx="1633">
                  <c:v>17000</c:v>
                </c:pt>
                <c:pt idx="1634">
                  <c:v>17001</c:v>
                </c:pt>
                <c:pt idx="1635">
                  <c:v>17002</c:v>
                </c:pt>
                <c:pt idx="1636">
                  <c:v>17003</c:v>
                </c:pt>
                <c:pt idx="1637">
                  <c:v>17004</c:v>
                </c:pt>
                <c:pt idx="1638">
                  <c:v>17007</c:v>
                </c:pt>
                <c:pt idx="1639">
                  <c:v>17008</c:v>
                </c:pt>
                <c:pt idx="1640">
                  <c:v>17009</c:v>
                </c:pt>
                <c:pt idx="1641">
                  <c:v>17010</c:v>
                </c:pt>
                <c:pt idx="1642">
                  <c:v>17011</c:v>
                </c:pt>
                <c:pt idx="1643">
                  <c:v>17015</c:v>
                </c:pt>
                <c:pt idx="1644">
                  <c:v>17016</c:v>
                </c:pt>
                <c:pt idx="1645">
                  <c:v>17017</c:v>
                </c:pt>
                <c:pt idx="1646">
                  <c:v>17018</c:v>
                </c:pt>
                <c:pt idx="1647">
                  <c:v>17021</c:v>
                </c:pt>
                <c:pt idx="1648">
                  <c:v>17022</c:v>
                </c:pt>
                <c:pt idx="1649">
                  <c:v>17023</c:v>
                </c:pt>
                <c:pt idx="1650">
                  <c:v>17024</c:v>
                </c:pt>
                <c:pt idx="1651">
                  <c:v>17025</c:v>
                </c:pt>
                <c:pt idx="1652">
                  <c:v>17028</c:v>
                </c:pt>
                <c:pt idx="1653">
                  <c:v>17029</c:v>
                </c:pt>
                <c:pt idx="1654">
                  <c:v>17030</c:v>
                </c:pt>
                <c:pt idx="1655">
                  <c:v>17031</c:v>
                </c:pt>
                <c:pt idx="1656">
                  <c:v>17032</c:v>
                </c:pt>
                <c:pt idx="1657">
                  <c:v>17035</c:v>
                </c:pt>
                <c:pt idx="1658">
                  <c:v>17036</c:v>
                </c:pt>
                <c:pt idx="1659">
                  <c:v>17037</c:v>
                </c:pt>
                <c:pt idx="1660">
                  <c:v>17038</c:v>
                </c:pt>
                <c:pt idx="1661">
                  <c:v>17039</c:v>
                </c:pt>
                <c:pt idx="1662">
                  <c:v>17042</c:v>
                </c:pt>
                <c:pt idx="1663">
                  <c:v>17043</c:v>
                </c:pt>
                <c:pt idx="1664">
                  <c:v>17044</c:v>
                </c:pt>
                <c:pt idx="1665">
                  <c:v>17045</c:v>
                </c:pt>
                <c:pt idx="1666">
                  <c:v>17046</c:v>
                </c:pt>
                <c:pt idx="1667">
                  <c:v>17049</c:v>
                </c:pt>
                <c:pt idx="1668">
                  <c:v>17050</c:v>
                </c:pt>
                <c:pt idx="1669">
                  <c:v>17051</c:v>
                </c:pt>
                <c:pt idx="1670">
                  <c:v>17052</c:v>
                </c:pt>
                <c:pt idx="1671">
                  <c:v>17053</c:v>
                </c:pt>
                <c:pt idx="1672">
                  <c:v>17056</c:v>
                </c:pt>
                <c:pt idx="1673">
                  <c:v>17057</c:v>
                </c:pt>
                <c:pt idx="1674">
                  <c:v>17058</c:v>
                </c:pt>
                <c:pt idx="1675">
                  <c:v>17059</c:v>
                </c:pt>
                <c:pt idx="1676">
                  <c:v>17060</c:v>
                </c:pt>
                <c:pt idx="1677">
                  <c:v>17063</c:v>
                </c:pt>
                <c:pt idx="1678">
                  <c:v>17064</c:v>
                </c:pt>
                <c:pt idx="1679">
                  <c:v>17065</c:v>
                </c:pt>
                <c:pt idx="1680">
                  <c:v>17066</c:v>
                </c:pt>
                <c:pt idx="1681">
                  <c:v>17067</c:v>
                </c:pt>
                <c:pt idx="1682">
                  <c:v>17070</c:v>
                </c:pt>
                <c:pt idx="1683">
                  <c:v>17071</c:v>
                </c:pt>
                <c:pt idx="1684">
                  <c:v>17072</c:v>
                </c:pt>
                <c:pt idx="1685">
                  <c:v>17073</c:v>
                </c:pt>
                <c:pt idx="1686">
                  <c:v>17074</c:v>
                </c:pt>
                <c:pt idx="1687">
                  <c:v>17077</c:v>
                </c:pt>
                <c:pt idx="1688">
                  <c:v>17078</c:v>
                </c:pt>
                <c:pt idx="1689">
                  <c:v>17079</c:v>
                </c:pt>
                <c:pt idx="1690">
                  <c:v>17080</c:v>
                </c:pt>
                <c:pt idx="1691">
                  <c:v>17081</c:v>
                </c:pt>
                <c:pt idx="1692">
                  <c:v>17084</c:v>
                </c:pt>
                <c:pt idx="1693">
                  <c:v>17085</c:v>
                </c:pt>
                <c:pt idx="1694">
                  <c:v>17086</c:v>
                </c:pt>
                <c:pt idx="1695">
                  <c:v>17087</c:v>
                </c:pt>
                <c:pt idx="1696">
                  <c:v>17088</c:v>
                </c:pt>
                <c:pt idx="1697">
                  <c:v>17091</c:v>
                </c:pt>
                <c:pt idx="1698">
                  <c:v>17092</c:v>
                </c:pt>
                <c:pt idx="1699">
                  <c:v>17093</c:v>
                </c:pt>
                <c:pt idx="1700">
                  <c:v>17094</c:v>
                </c:pt>
                <c:pt idx="1701">
                  <c:v>17095</c:v>
                </c:pt>
                <c:pt idx="1702">
                  <c:v>17098</c:v>
                </c:pt>
                <c:pt idx="1703">
                  <c:v>17099</c:v>
                </c:pt>
                <c:pt idx="1704">
                  <c:v>17100</c:v>
                </c:pt>
                <c:pt idx="1705">
                  <c:v>17101</c:v>
                </c:pt>
                <c:pt idx="1706">
                  <c:v>17102</c:v>
                </c:pt>
                <c:pt idx="1707">
                  <c:v>17105</c:v>
                </c:pt>
                <c:pt idx="1708">
                  <c:v>17106</c:v>
                </c:pt>
                <c:pt idx="1709">
                  <c:v>17107</c:v>
                </c:pt>
                <c:pt idx="1710">
                  <c:v>17108</c:v>
                </c:pt>
                <c:pt idx="1711">
                  <c:v>17109</c:v>
                </c:pt>
                <c:pt idx="1712">
                  <c:v>17112</c:v>
                </c:pt>
                <c:pt idx="1713">
                  <c:v>17113</c:v>
                </c:pt>
                <c:pt idx="1714">
                  <c:v>17114</c:v>
                </c:pt>
                <c:pt idx="1715">
                  <c:v>17115</c:v>
                </c:pt>
                <c:pt idx="1716">
                  <c:v>17116</c:v>
                </c:pt>
                <c:pt idx="1717">
                  <c:v>17119</c:v>
                </c:pt>
                <c:pt idx="1718">
                  <c:v>17120</c:v>
                </c:pt>
                <c:pt idx="1719">
                  <c:v>17121</c:v>
                </c:pt>
                <c:pt idx="1720">
                  <c:v>17122</c:v>
                </c:pt>
                <c:pt idx="1721">
                  <c:v>17123</c:v>
                </c:pt>
                <c:pt idx="1722">
                  <c:v>17126</c:v>
                </c:pt>
                <c:pt idx="1723">
                  <c:v>17127</c:v>
                </c:pt>
                <c:pt idx="1724">
                  <c:v>17128</c:v>
                </c:pt>
                <c:pt idx="1725">
                  <c:v>17129</c:v>
                </c:pt>
                <c:pt idx="1726">
                  <c:v>17130</c:v>
                </c:pt>
                <c:pt idx="1727">
                  <c:v>17133</c:v>
                </c:pt>
                <c:pt idx="1728">
                  <c:v>17134</c:v>
                </c:pt>
                <c:pt idx="1729">
                  <c:v>17135</c:v>
                </c:pt>
                <c:pt idx="1730">
                  <c:v>17136</c:v>
                </c:pt>
                <c:pt idx="1731">
                  <c:v>17137</c:v>
                </c:pt>
                <c:pt idx="1732">
                  <c:v>17140</c:v>
                </c:pt>
                <c:pt idx="1733">
                  <c:v>17141</c:v>
                </c:pt>
                <c:pt idx="1734">
                  <c:v>17142</c:v>
                </c:pt>
                <c:pt idx="1735">
                  <c:v>17143</c:v>
                </c:pt>
                <c:pt idx="1736">
                  <c:v>17144</c:v>
                </c:pt>
                <c:pt idx="1737">
                  <c:v>17147</c:v>
                </c:pt>
                <c:pt idx="1738">
                  <c:v>17148</c:v>
                </c:pt>
                <c:pt idx="1739">
                  <c:v>17149</c:v>
                </c:pt>
                <c:pt idx="1740">
                  <c:v>17150</c:v>
                </c:pt>
                <c:pt idx="1741">
                  <c:v>17151</c:v>
                </c:pt>
                <c:pt idx="1742">
                  <c:v>17154</c:v>
                </c:pt>
                <c:pt idx="1743">
                  <c:v>17155</c:v>
                </c:pt>
                <c:pt idx="1744">
                  <c:v>17156</c:v>
                </c:pt>
                <c:pt idx="1745">
                  <c:v>17157</c:v>
                </c:pt>
                <c:pt idx="1746">
                  <c:v>17158</c:v>
                </c:pt>
                <c:pt idx="1747">
                  <c:v>17162</c:v>
                </c:pt>
                <c:pt idx="1748">
                  <c:v>17163</c:v>
                </c:pt>
                <c:pt idx="1749">
                  <c:v>17164</c:v>
                </c:pt>
                <c:pt idx="1750">
                  <c:v>17165</c:v>
                </c:pt>
                <c:pt idx="1751">
                  <c:v>17168</c:v>
                </c:pt>
                <c:pt idx="1752">
                  <c:v>17169</c:v>
                </c:pt>
                <c:pt idx="1753">
                  <c:v>17170</c:v>
                </c:pt>
                <c:pt idx="1754">
                  <c:v>17171</c:v>
                </c:pt>
                <c:pt idx="1755">
                  <c:v>17172</c:v>
                </c:pt>
                <c:pt idx="1756">
                  <c:v>17175</c:v>
                </c:pt>
                <c:pt idx="1757">
                  <c:v>17176</c:v>
                </c:pt>
                <c:pt idx="1758">
                  <c:v>17177</c:v>
                </c:pt>
                <c:pt idx="1759">
                  <c:v>17178</c:v>
                </c:pt>
                <c:pt idx="1760">
                  <c:v>17179</c:v>
                </c:pt>
                <c:pt idx="1761">
                  <c:v>17182</c:v>
                </c:pt>
                <c:pt idx="1762">
                  <c:v>17183</c:v>
                </c:pt>
                <c:pt idx="1763">
                  <c:v>17184</c:v>
                </c:pt>
                <c:pt idx="1764">
                  <c:v>17185</c:v>
                </c:pt>
                <c:pt idx="1765">
                  <c:v>17186</c:v>
                </c:pt>
                <c:pt idx="1766">
                  <c:v>17189</c:v>
                </c:pt>
                <c:pt idx="1767">
                  <c:v>17190</c:v>
                </c:pt>
                <c:pt idx="1768">
                  <c:v>17191</c:v>
                </c:pt>
                <c:pt idx="1769">
                  <c:v>17192</c:v>
                </c:pt>
                <c:pt idx="1770">
                  <c:v>17193</c:v>
                </c:pt>
                <c:pt idx="1771">
                  <c:v>17196</c:v>
                </c:pt>
                <c:pt idx="1772">
                  <c:v>17197</c:v>
                </c:pt>
                <c:pt idx="1773">
                  <c:v>17198</c:v>
                </c:pt>
                <c:pt idx="1774">
                  <c:v>17199</c:v>
                </c:pt>
                <c:pt idx="1775">
                  <c:v>17200</c:v>
                </c:pt>
                <c:pt idx="1776">
                  <c:v>17203</c:v>
                </c:pt>
                <c:pt idx="1777">
                  <c:v>17204</c:v>
                </c:pt>
                <c:pt idx="1778">
                  <c:v>17205</c:v>
                </c:pt>
                <c:pt idx="1779">
                  <c:v>17206</c:v>
                </c:pt>
                <c:pt idx="1780">
                  <c:v>17207</c:v>
                </c:pt>
                <c:pt idx="1781">
                  <c:v>17210</c:v>
                </c:pt>
                <c:pt idx="1782">
                  <c:v>17211</c:v>
                </c:pt>
                <c:pt idx="1783">
                  <c:v>17212</c:v>
                </c:pt>
                <c:pt idx="1784">
                  <c:v>17213</c:v>
                </c:pt>
                <c:pt idx="1785">
                  <c:v>17214</c:v>
                </c:pt>
                <c:pt idx="1786">
                  <c:v>17217</c:v>
                </c:pt>
                <c:pt idx="1787">
                  <c:v>17218</c:v>
                </c:pt>
                <c:pt idx="1788">
                  <c:v>17219</c:v>
                </c:pt>
                <c:pt idx="1789">
                  <c:v>17220</c:v>
                </c:pt>
                <c:pt idx="1790">
                  <c:v>17221</c:v>
                </c:pt>
                <c:pt idx="1791">
                  <c:v>17224</c:v>
                </c:pt>
                <c:pt idx="1792">
                  <c:v>17225</c:v>
                </c:pt>
                <c:pt idx="1793">
                  <c:v>17226</c:v>
                </c:pt>
                <c:pt idx="1794">
                  <c:v>17227</c:v>
                </c:pt>
                <c:pt idx="1795">
                  <c:v>17228</c:v>
                </c:pt>
                <c:pt idx="1796">
                  <c:v>17231</c:v>
                </c:pt>
                <c:pt idx="1797">
                  <c:v>17232</c:v>
                </c:pt>
                <c:pt idx="1798">
                  <c:v>17233</c:v>
                </c:pt>
                <c:pt idx="1799">
                  <c:v>17234</c:v>
                </c:pt>
                <c:pt idx="1800">
                  <c:v>17235</c:v>
                </c:pt>
                <c:pt idx="1801">
                  <c:v>17238</c:v>
                </c:pt>
                <c:pt idx="1802">
                  <c:v>17239</c:v>
                </c:pt>
                <c:pt idx="1803">
                  <c:v>17240</c:v>
                </c:pt>
                <c:pt idx="1804">
                  <c:v>17241</c:v>
                </c:pt>
                <c:pt idx="1805">
                  <c:v>17242</c:v>
                </c:pt>
                <c:pt idx="1806">
                  <c:v>17245</c:v>
                </c:pt>
                <c:pt idx="1807">
                  <c:v>17246</c:v>
                </c:pt>
                <c:pt idx="1808">
                  <c:v>17247</c:v>
                </c:pt>
                <c:pt idx="1809">
                  <c:v>17248</c:v>
                </c:pt>
                <c:pt idx="1810">
                  <c:v>17249</c:v>
                </c:pt>
                <c:pt idx="1811">
                  <c:v>17252</c:v>
                </c:pt>
                <c:pt idx="1812">
                  <c:v>17253</c:v>
                </c:pt>
                <c:pt idx="1813">
                  <c:v>17254</c:v>
                </c:pt>
                <c:pt idx="1814">
                  <c:v>17255</c:v>
                </c:pt>
                <c:pt idx="1815">
                  <c:v>17256</c:v>
                </c:pt>
                <c:pt idx="1816">
                  <c:v>17259</c:v>
                </c:pt>
                <c:pt idx="1817">
                  <c:v>17260</c:v>
                </c:pt>
                <c:pt idx="1818">
                  <c:v>17261</c:v>
                </c:pt>
                <c:pt idx="1819">
                  <c:v>17262</c:v>
                </c:pt>
                <c:pt idx="1820">
                  <c:v>17263</c:v>
                </c:pt>
                <c:pt idx="1821">
                  <c:v>17266</c:v>
                </c:pt>
                <c:pt idx="1822">
                  <c:v>17267</c:v>
                </c:pt>
                <c:pt idx="1823">
                  <c:v>17268</c:v>
                </c:pt>
                <c:pt idx="1824">
                  <c:v>17274</c:v>
                </c:pt>
                <c:pt idx="1825">
                  <c:v>17275</c:v>
                </c:pt>
                <c:pt idx="1826">
                  <c:v>17277</c:v>
                </c:pt>
                <c:pt idx="1827">
                  <c:v>17280</c:v>
                </c:pt>
                <c:pt idx="1828">
                  <c:v>17281</c:v>
                </c:pt>
                <c:pt idx="1829">
                  <c:v>17282</c:v>
                </c:pt>
                <c:pt idx="1830">
                  <c:v>17283</c:v>
                </c:pt>
                <c:pt idx="1831">
                  <c:v>17284</c:v>
                </c:pt>
                <c:pt idx="1832">
                  <c:v>17288</c:v>
                </c:pt>
                <c:pt idx="1833">
                  <c:v>17289</c:v>
                </c:pt>
                <c:pt idx="1834">
                  <c:v>17290</c:v>
                </c:pt>
                <c:pt idx="1835">
                  <c:v>17291</c:v>
                </c:pt>
                <c:pt idx="1836">
                  <c:v>17294</c:v>
                </c:pt>
                <c:pt idx="1837">
                  <c:v>17295</c:v>
                </c:pt>
                <c:pt idx="1838">
                  <c:v>17296</c:v>
                </c:pt>
                <c:pt idx="1839">
                  <c:v>17297</c:v>
                </c:pt>
                <c:pt idx="1840">
                  <c:v>17298</c:v>
                </c:pt>
                <c:pt idx="1841">
                  <c:v>17301</c:v>
                </c:pt>
                <c:pt idx="1842">
                  <c:v>17302</c:v>
                </c:pt>
                <c:pt idx="1843">
                  <c:v>17303</c:v>
                </c:pt>
                <c:pt idx="1844">
                  <c:v>17304</c:v>
                </c:pt>
                <c:pt idx="1845">
                  <c:v>17305</c:v>
                </c:pt>
                <c:pt idx="1846">
                  <c:v>17308</c:v>
                </c:pt>
                <c:pt idx="1847">
                  <c:v>17309</c:v>
                </c:pt>
                <c:pt idx="1848">
                  <c:v>17310</c:v>
                </c:pt>
                <c:pt idx="1849">
                  <c:v>17311</c:v>
                </c:pt>
                <c:pt idx="1850">
                  <c:v>17312</c:v>
                </c:pt>
                <c:pt idx="1851">
                  <c:v>17315</c:v>
                </c:pt>
                <c:pt idx="1852">
                  <c:v>17316</c:v>
                </c:pt>
                <c:pt idx="1853">
                  <c:v>17317</c:v>
                </c:pt>
                <c:pt idx="1854">
                  <c:v>17318</c:v>
                </c:pt>
                <c:pt idx="1855">
                  <c:v>17319</c:v>
                </c:pt>
                <c:pt idx="1856">
                  <c:v>17323</c:v>
                </c:pt>
                <c:pt idx="1857">
                  <c:v>17324</c:v>
                </c:pt>
                <c:pt idx="1858">
                  <c:v>17325</c:v>
                </c:pt>
                <c:pt idx="1859">
                  <c:v>17326</c:v>
                </c:pt>
                <c:pt idx="1860">
                  <c:v>17329</c:v>
                </c:pt>
                <c:pt idx="1861">
                  <c:v>17330</c:v>
                </c:pt>
                <c:pt idx="1862">
                  <c:v>17331</c:v>
                </c:pt>
                <c:pt idx="1863">
                  <c:v>17332</c:v>
                </c:pt>
                <c:pt idx="1864">
                  <c:v>17333</c:v>
                </c:pt>
                <c:pt idx="1865">
                  <c:v>17336</c:v>
                </c:pt>
                <c:pt idx="1866">
                  <c:v>17337</c:v>
                </c:pt>
                <c:pt idx="1867">
                  <c:v>17338</c:v>
                </c:pt>
                <c:pt idx="1868">
                  <c:v>17339</c:v>
                </c:pt>
                <c:pt idx="1869">
                  <c:v>17340</c:v>
                </c:pt>
                <c:pt idx="1870">
                  <c:v>17343</c:v>
                </c:pt>
                <c:pt idx="1871">
                  <c:v>17344</c:v>
                </c:pt>
                <c:pt idx="1872">
                  <c:v>17345</c:v>
                </c:pt>
                <c:pt idx="1873">
                  <c:v>17346</c:v>
                </c:pt>
                <c:pt idx="1874">
                  <c:v>17347</c:v>
                </c:pt>
                <c:pt idx="1875">
                  <c:v>17350</c:v>
                </c:pt>
                <c:pt idx="1876">
                  <c:v>17351</c:v>
                </c:pt>
                <c:pt idx="1877">
                  <c:v>17352</c:v>
                </c:pt>
                <c:pt idx="1878">
                  <c:v>17353</c:v>
                </c:pt>
                <c:pt idx="1879">
                  <c:v>17354</c:v>
                </c:pt>
                <c:pt idx="1880">
                  <c:v>17357</c:v>
                </c:pt>
                <c:pt idx="1881">
                  <c:v>17358</c:v>
                </c:pt>
                <c:pt idx="1882">
                  <c:v>17359</c:v>
                </c:pt>
                <c:pt idx="1883">
                  <c:v>17360</c:v>
                </c:pt>
                <c:pt idx="1884">
                  <c:v>17361</c:v>
                </c:pt>
                <c:pt idx="1885">
                  <c:v>17364</c:v>
                </c:pt>
                <c:pt idx="1886">
                  <c:v>17365</c:v>
                </c:pt>
                <c:pt idx="1887">
                  <c:v>17366</c:v>
                </c:pt>
                <c:pt idx="1888">
                  <c:v>17367</c:v>
                </c:pt>
                <c:pt idx="1889">
                  <c:v>17368</c:v>
                </c:pt>
                <c:pt idx="1890">
                  <c:v>17371</c:v>
                </c:pt>
                <c:pt idx="1891">
                  <c:v>17372</c:v>
                </c:pt>
                <c:pt idx="1892">
                  <c:v>17373</c:v>
                </c:pt>
                <c:pt idx="1893">
                  <c:v>17374</c:v>
                </c:pt>
                <c:pt idx="1894">
                  <c:v>17375</c:v>
                </c:pt>
                <c:pt idx="1895">
                  <c:v>17378</c:v>
                </c:pt>
                <c:pt idx="1896">
                  <c:v>17379</c:v>
                </c:pt>
                <c:pt idx="1897">
                  <c:v>17380</c:v>
                </c:pt>
                <c:pt idx="1898">
                  <c:v>17381</c:v>
                </c:pt>
                <c:pt idx="1899">
                  <c:v>17382</c:v>
                </c:pt>
                <c:pt idx="1900">
                  <c:v>17386</c:v>
                </c:pt>
                <c:pt idx="1901">
                  <c:v>17387</c:v>
                </c:pt>
                <c:pt idx="1902">
                  <c:v>17388</c:v>
                </c:pt>
                <c:pt idx="1903">
                  <c:v>17389</c:v>
                </c:pt>
                <c:pt idx="1904">
                  <c:v>17392</c:v>
                </c:pt>
                <c:pt idx="1905">
                  <c:v>17393</c:v>
                </c:pt>
                <c:pt idx="1906">
                  <c:v>17394</c:v>
                </c:pt>
                <c:pt idx="1907">
                  <c:v>17395</c:v>
                </c:pt>
                <c:pt idx="1908">
                  <c:v>17396</c:v>
                </c:pt>
                <c:pt idx="1909">
                  <c:v>17399</c:v>
                </c:pt>
                <c:pt idx="1910">
                  <c:v>17400</c:v>
                </c:pt>
                <c:pt idx="1911">
                  <c:v>17401</c:v>
                </c:pt>
                <c:pt idx="1912">
                  <c:v>17402</c:v>
                </c:pt>
                <c:pt idx="1913">
                  <c:v>17403</c:v>
                </c:pt>
                <c:pt idx="1914">
                  <c:v>17406</c:v>
                </c:pt>
                <c:pt idx="1915">
                  <c:v>17407</c:v>
                </c:pt>
                <c:pt idx="1916">
                  <c:v>17408</c:v>
                </c:pt>
                <c:pt idx="1917">
                  <c:v>17409</c:v>
                </c:pt>
                <c:pt idx="1918">
                  <c:v>17410</c:v>
                </c:pt>
                <c:pt idx="1919">
                  <c:v>17413</c:v>
                </c:pt>
                <c:pt idx="1920">
                  <c:v>17414</c:v>
                </c:pt>
                <c:pt idx="1921">
                  <c:v>17415</c:v>
                </c:pt>
                <c:pt idx="1922">
                  <c:v>17416</c:v>
                </c:pt>
                <c:pt idx="1923">
                  <c:v>17417</c:v>
                </c:pt>
                <c:pt idx="1924">
                  <c:v>17420</c:v>
                </c:pt>
                <c:pt idx="1925">
                  <c:v>17421</c:v>
                </c:pt>
                <c:pt idx="1926">
                  <c:v>17422</c:v>
                </c:pt>
                <c:pt idx="1927">
                  <c:v>17423</c:v>
                </c:pt>
                <c:pt idx="1928">
                  <c:v>17424</c:v>
                </c:pt>
                <c:pt idx="1929">
                  <c:v>17427</c:v>
                </c:pt>
                <c:pt idx="1930">
                  <c:v>17428</c:v>
                </c:pt>
                <c:pt idx="1931">
                  <c:v>17429</c:v>
                </c:pt>
                <c:pt idx="1932">
                  <c:v>17430</c:v>
                </c:pt>
                <c:pt idx="1933">
                  <c:v>17431</c:v>
                </c:pt>
                <c:pt idx="1934">
                  <c:v>17434</c:v>
                </c:pt>
                <c:pt idx="1935">
                  <c:v>17435</c:v>
                </c:pt>
                <c:pt idx="1936">
                  <c:v>17436</c:v>
                </c:pt>
                <c:pt idx="1937">
                  <c:v>17437</c:v>
                </c:pt>
                <c:pt idx="1938">
                  <c:v>17438</c:v>
                </c:pt>
                <c:pt idx="1939">
                  <c:v>17441</c:v>
                </c:pt>
                <c:pt idx="1940">
                  <c:v>17442</c:v>
                </c:pt>
                <c:pt idx="1941">
                  <c:v>17443</c:v>
                </c:pt>
                <c:pt idx="1942">
                  <c:v>17444</c:v>
                </c:pt>
                <c:pt idx="1943">
                  <c:v>17445</c:v>
                </c:pt>
                <c:pt idx="1944">
                  <c:v>17448</c:v>
                </c:pt>
                <c:pt idx="1945">
                  <c:v>17449</c:v>
                </c:pt>
                <c:pt idx="1946">
                  <c:v>17450</c:v>
                </c:pt>
                <c:pt idx="1947">
                  <c:v>17451</c:v>
                </c:pt>
                <c:pt idx="1948">
                  <c:v>17452</c:v>
                </c:pt>
                <c:pt idx="1949">
                  <c:v>17455</c:v>
                </c:pt>
                <c:pt idx="1950">
                  <c:v>17456</c:v>
                </c:pt>
                <c:pt idx="1951">
                  <c:v>17457</c:v>
                </c:pt>
                <c:pt idx="1952">
                  <c:v>17458</c:v>
                </c:pt>
                <c:pt idx="1953">
                  <c:v>17459</c:v>
                </c:pt>
                <c:pt idx="1954">
                  <c:v>17462</c:v>
                </c:pt>
                <c:pt idx="1955">
                  <c:v>17463</c:v>
                </c:pt>
                <c:pt idx="1956">
                  <c:v>17464</c:v>
                </c:pt>
                <c:pt idx="1957">
                  <c:v>17465</c:v>
                </c:pt>
                <c:pt idx="1958">
                  <c:v>17466</c:v>
                </c:pt>
                <c:pt idx="1959">
                  <c:v>17469</c:v>
                </c:pt>
                <c:pt idx="1960">
                  <c:v>17470</c:v>
                </c:pt>
                <c:pt idx="1961">
                  <c:v>17471</c:v>
                </c:pt>
                <c:pt idx="1962">
                  <c:v>17472</c:v>
                </c:pt>
                <c:pt idx="1963">
                  <c:v>17473</c:v>
                </c:pt>
                <c:pt idx="1964">
                  <c:v>17476</c:v>
                </c:pt>
                <c:pt idx="1965">
                  <c:v>17477</c:v>
                </c:pt>
                <c:pt idx="1966">
                  <c:v>17478</c:v>
                </c:pt>
                <c:pt idx="1967">
                  <c:v>17479</c:v>
                </c:pt>
                <c:pt idx="1968">
                  <c:v>17480</c:v>
                </c:pt>
                <c:pt idx="1969">
                  <c:v>17483</c:v>
                </c:pt>
                <c:pt idx="1970">
                  <c:v>17484</c:v>
                </c:pt>
                <c:pt idx="1971">
                  <c:v>17485</c:v>
                </c:pt>
                <c:pt idx="1972">
                  <c:v>17486</c:v>
                </c:pt>
                <c:pt idx="1973">
                  <c:v>17487</c:v>
                </c:pt>
                <c:pt idx="1974">
                  <c:v>17490</c:v>
                </c:pt>
                <c:pt idx="1975">
                  <c:v>17491</c:v>
                </c:pt>
                <c:pt idx="1976">
                  <c:v>17492</c:v>
                </c:pt>
                <c:pt idx="1977">
                  <c:v>17493</c:v>
                </c:pt>
                <c:pt idx="1978">
                  <c:v>17494</c:v>
                </c:pt>
                <c:pt idx="1979">
                  <c:v>17497</c:v>
                </c:pt>
                <c:pt idx="1980">
                  <c:v>17498</c:v>
                </c:pt>
                <c:pt idx="1981">
                  <c:v>17499</c:v>
                </c:pt>
                <c:pt idx="1982">
                  <c:v>17500</c:v>
                </c:pt>
                <c:pt idx="1983">
                  <c:v>17501</c:v>
                </c:pt>
                <c:pt idx="1984">
                  <c:v>17504</c:v>
                </c:pt>
                <c:pt idx="1985">
                  <c:v>17505</c:v>
                </c:pt>
                <c:pt idx="1986">
                  <c:v>17506</c:v>
                </c:pt>
                <c:pt idx="1987">
                  <c:v>17507</c:v>
                </c:pt>
                <c:pt idx="1988">
                  <c:v>17508</c:v>
                </c:pt>
                <c:pt idx="1989">
                  <c:v>17511</c:v>
                </c:pt>
                <c:pt idx="1990">
                  <c:v>17512</c:v>
                </c:pt>
                <c:pt idx="1991">
                  <c:v>17513</c:v>
                </c:pt>
                <c:pt idx="1992">
                  <c:v>17514</c:v>
                </c:pt>
                <c:pt idx="1993">
                  <c:v>17515</c:v>
                </c:pt>
                <c:pt idx="1994">
                  <c:v>17518</c:v>
                </c:pt>
                <c:pt idx="1995">
                  <c:v>17519</c:v>
                </c:pt>
                <c:pt idx="1996">
                  <c:v>17520</c:v>
                </c:pt>
                <c:pt idx="1997">
                  <c:v>17521</c:v>
                </c:pt>
                <c:pt idx="1998">
                  <c:v>17522</c:v>
                </c:pt>
                <c:pt idx="1999">
                  <c:v>17527</c:v>
                </c:pt>
                <c:pt idx="2000">
                  <c:v>17528</c:v>
                </c:pt>
                <c:pt idx="2001">
                  <c:v>17529</c:v>
                </c:pt>
                <c:pt idx="2002">
                  <c:v>17532</c:v>
                </c:pt>
                <c:pt idx="2003">
                  <c:v>17533</c:v>
                </c:pt>
                <c:pt idx="2004">
                  <c:v>17534</c:v>
                </c:pt>
                <c:pt idx="2005">
                  <c:v>17535</c:v>
                </c:pt>
                <c:pt idx="2006">
                  <c:v>17536</c:v>
                </c:pt>
                <c:pt idx="2007">
                  <c:v>17539</c:v>
                </c:pt>
                <c:pt idx="2008">
                  <c:v>17540</c:v>
                </c:pt>
                <c:pt idx="2009">
                  <c:v>17541</c:v>
                </c:pt>
                <c:pt idx="2010">
                  <c:v>17542</c:v>
                </c:pt>
                <c:pt idx="2011">
                  <c:v>17543</c:v>
                </c:pt>
                <c:pt idx="2012">
                  <c:v>17546</c:v>
                </c:pt>
                <c:pt idx="2013">
                  <c:v>17547</c:v>
                </c:pt>
                <c:pt idx="2014">
                  <c:v>17548</c:v>
                </c:pt>
                <c:pt idx="2015">
                  <c:v>17549</c:v>
                </c:pt>
                <c:pt idx="2016">
                  <c:v>17550</c:v>
                </c:pt>
                <c:pt idx="2017">
                  <c:v>17553</c:v>
                </c:pt>
                <c:pt idx="2018">
                  <c:v>17554</c:v>
                </c:pt>
                <c:pt idx="2019">
                  <c:v>17555</c:v>
                </c:pt>
                <c:pt idx="2020">
                  <c:v>17556</c:v>
                </c:pt>
                <c:pt idx="2021">
                  <c:v>17557</c:v>
                </c:pt>
                <c:pt idx="2022">
                  <c:v>17560</c:v>
                </c:pt>
                <c:pt idx="2023">
                  <c:v>17561</c:v>
                </c:pt>
                <c:pt idx="2024">
                  <c:v>17562</c:v>
                </c:pt>
                <c:pt idx="2025">
                  <c:v>17563</c:v>
                </c:pt>
                <c:pt idx="2026">
                  <c:v>17564</c:v>
                </c:pt>
                <c:pt idx="2027">
                  <c:v>17567</c:v>
                </c:pt>
                <c:pt idx="2028">
                  <c:v>17568</c:v>
                </c:pt>
                <c:pt idx="2029">
                  <c:v>17569</c:v>
                </c:pt>
                <c:pt idx="2030">
                  <c:v>17570</c:v>
                </c:pt>
                <c:pt idx="2031">
                  <c:v>17571</c:v>
                </c:pt>
                <c:pt idx="2032">
                  <c:v>17574</c:v>
                </c:pt>
                <c:pt idx="2033">
                  <c:v>17575</c:v>
                </c:pt>
                <c:pt idx="2034">
                  <c:v>17576</c:v>
                </c:pt>
                <c:pt idx="2035">
                  <c:v>17577</c:v>
                </c:pt>
                <c:pt idx="2036">
                  <c:v>17578</c:v>
                </c:pt>
                <c:pt idx="2037">
                  <c:v>17581</c:v>
                </c:pt>
                <c:pt idx="2038">
                  <c:v>17582</c:v>
                </c:pt>
                <c:pt idx="2039">
                  <c:v>17583</c:v>
                </c:pt>
                <c:pt idx="2040">
                  <c:v>17584</c:v>
                </c:pt>
                <c:pt idx="2041">
                  <c:v>17585</c:v>
                </c:pt>
                <c:pt idx="2042">
                  <c:v>17588</c:v>
                </c:pt>
                <c:pt idx="2043">
                  <c:v>17589</c:v>
                </c:pt>
                <c:pt idx="2044">
                  <c:v>17590</c:v>
                </c:pt>
                <c:pt idx="2045">
                  <c:v>17591</c:v>
                </c:pt>
                <c:pt idx="2046">
                  <c:v>17592</c:v>
                </c:pt>
                <c:pt idx="2047">
                  <c:v>17595</c:v>
                </c:pt>
                <c:pt idx="2048">
                  <c:v>17596</c:v>
                </c:pt>
                <c:pt idx="2049">
                  <c:v>17597</c:v>
                </c:pt>
                <c:pt idx="2050">
                  <c:v>17598</c:v>
                </c:pt>
                <c:pt idx="2051">
                  <c:v>17599</c:v>
                </c:pt>
                <c:pt idx="2052">
                  <c:v>17602</c:v>
                </c:pt>
                <c:pt idx="2053">
                  <c:v>17603</c:v>
                </c:pt>
                <c:pt idx="2054">
                  <c:v>17604</c:v>
                </c:pt>
                <c:pt idx="2055">
                  <c:v>17605</c:v>
                </c:pt>
                <c:pt idx="2056">
                  <c:v>17606</c:v>
                </c:pt>
                <c:pt idx="2057">
                  <c:v>17609</c:v>
                </c:pt>
                <c:pt idx="2058">
                  <c:v>17610</c:v>
                </c:pt>
                <c:pt idx="2059">
                  <c:v>17611</c:v>
                </c:pt>
                <c:pt idx="2060">
                  <c:v>17612</c:v>
                </c:pt>
                <c:pt idx="2061">
                  <c:v>17613</c:v>
                </c:pt>
                <c:pt idx="2062">
                  <c:v>17616</c:v>
                </c:pt>
                <c:pt idx="2063">
                  <c:v>17617</c:v>
                </c:pt>
                <c:pt idx="2064">
                  <c:v>17618</c:v>
                </c:pt>
                <c:pt idx="2065">
                  <c:v>17624</c:v>
                </c:pt>
                <c:pt idx="2066">
                  <c:v>17625</c:v>
                </c:pt>
                <c:pt idx="2067">
                  <c:v>17626</c:v>
                </c:pt>
                <c:pt idx="2068">
                  <c:v>17627</c:v>
                </c:pt>
                <c:pt idx="2069">
                  <c:v>17630</c:v>
                </c:pt>
                <c:pt idx="2070">
                  <c:v>17631</c:v>
                </c:pt>
                <c:pt idx="2071">
                  <c:v>17632</c:v>
                </c:pt>
                <c:pt idx="2072">
                  <c:v>17633</c:v>
                </c:pt>
                <c:pt idx="2073">
                  <c:v>17634</c:v>
                </c:pt>
                <c:pt idx="2074">
                  <c:v>17637</c:v>
                </c:pt>
                <c:pt idx="2075">
                  <c:v>17638</c:v>
                </c:pt>
                <c:pt idx="2076">
                  <c:v>17639</c:v>
                </c:pt>
                <c:pt idx="2077">
                  <c:v>17641</c:v>
                </c:pt>
                <c:pt idx="2078">
                  <c:v>17644</c:v>
                </c:pt>
                <c:pt idx="2079">
                  <c:v>17645</c:v>
                </c:pt>
                <c:pt idx="2080">
                  <c:v>17646</c:v>
                </c:pt>
                <c:pt idx="2081">
                  <c:v>17647</c:v>
                </c:pt>
                <c:pt idx="2082">
                  <c:v>17648</c:v>
                </c:pt>
                <c:pt idx="2083">
                  <c:v>17651</c:v>
                </c:pt>
                <c:pt idx="2084">
                  <c:v>17653</c:v>
                </c:pt>
                <c:pt idx="2085">
                  <c:v>17654</c:v>
                </c:pt>
                <c:pt idx="2086">
                  <c:v>17655</c:v>
                </c:pt>
                <c:pt idx="2087">
                  <c:v>17658</c:v>
                </c:pt>
                <c:pt idx="2088">
                  <c:v>17659</c:v>
                </c:pt>
                <c:pt idx="2089">
                  <c:v>17660</c:v>
                </c:pt>
                <c:pt idx="2090">
                  <c:v>17662</c:v>
                </c:pt>
                <c:pt idx="2091">
                  <c:v>17665</c:v>
                </c:pt>
                <c:pt idx="2092">
                  <c:v>17666</c:v>
                </c:pt>
                <c:pt idx="2093">
                  <c:v>17667</c:v>
                </c:pt>
                <c:pt idx="2094">
                  <c:v>17668</c:v>
                </c:pt>
                <c:pt idx="2095">
                  <c:v>17669</c:v>
                </c:pt>
                <c:pt idx="2096">
                  <c:v>17673</c:v>
                </c:pt>
                <c:pt idx="2097">
                  <c:v>17674</c:v>
                </c:pt>
                <c:pt idx="2098">
                  <c:v>17675</c:v>
                </c:pt>
                <c:pt idx="2099">
                  <c:v>17676</c:v>
                </c:pt>
                <c:pt idx="2100">
                  <c:v>17679</c:v>
                </c:pt>
                <c:pt idx="2101">
                  <c:v>17680</c:v>
                </c:pt>
                <c:pt idx="2102">
                  <c:v>17681</c:v>
                </c:pt>
                <c:pt idx="2103">
                  <c:v>17682</c:v>
                </c:pt>
                <c:pt idx="2104">
                  <c:v>17683</c:v>
                </c:pt>
                <c:pt idx="2105">
                  <c:v>17686</c:v>
                </c:pt>
                <c:pt idx="2106">
                  <c:v>17687</c:v>
                </c:pt>
                <c:pt idx="2107">
                  <c:v>17688</c:v>
                </c:pt>
                <c:pt idx="2108">
                  <c:v>17689</c:v>
                </c:pt>
                <c:pt idx="2109">
                  <c:v>17690</c:v>
                </c:pt>
                <c:pt idx="2110">
                  <c:v>17693</c:v>
                </c:pt>
                <c:pt idx="2111">
                  <c:v>17694</c:v>
                </c:pt>
                <c:pt idx="2112">
                  <c:v>17695</c:v>
                </c:pt>
                <c:pt idx="2113">
                  <c:v>17696</c:v>
                </c:pt>
                <c:pt idx="2114">
                  <c:v>17697</c:v>
                </c:pt>
                <c:pt idx="2115">
                  <c:v>17700</c:v>
                </c:pt>
                <c:pt idx="2116">
                  <c:v>17701</c:v>
                </c:pt>
                <c:pt idx="2117">
                  <c:v>17702</c:v>
                </c:pt>
                <c:pt idx="2118">
                  <c:v>17703</c:v>
                </c:pt>
                <c:pt idx="2119">
                  <c:v>17704</c:v>
                </c:pt>
                <c:pt idx="2120">
                  <c:v>17707</c:v>
                </c:pt>
                <c:pt idx="2121">
                  <c:v>17708</c:v>
                </c:pt>
                <c:pt idx="2122">
                  <c:v>17709</c:v>
                </c:pt>
                <c:pt idx="2123">
                  <c:v>17710</c:v>
                </c:pt>
                <c:pt idx="2124">
                  <c:v>17711</c:v>
                </c:pt>
                <c:pt idx="2125">
                  <c:v>17714</c:v>
                </c:pt>
                <c:pt idx="2126">
                  <c:v>17715</c:v>
                </c:pt>
                <c:pt idx="2127">
                  <c:v>17716</c:v>
                </c:pt>
                <c:pt idx="2128">
                  <c:v>17717</c:v>
                </c:pt>
                <c:pt idx="2129">
                  <c:v>17718</c:v>
                </c:pt>
                <c:pt idx="2130">
                  <c:v>17721</c:v>
                </c:pt>
                <c:pt idx="2131">
                  <c:v>17722</c:v>
                </c:pt>
                <c:pt idx="2132">
                  <c:v>17723</c:v>
                </c:pt>
                <c:pt idx="2133">
                  <c:v>17724</c:v>
                </c:pt>
                <c:pt idx="2134">
                  <c:v>17725</c:v>
                </c:pt>
                <c:pt idx="2135">
                  <c:v>17728</c:v>
                </c:pt>
                <c:pt idx="2136">
                  <c:v>17729</c:v>
                </c:pt>
                <c:pt idx="2137">
                  <c:v>17730</c:v>
                </c:pt>
                <c:pt idx="2138">
                  <c:v>17731</c:v>
                </c:pt>
                <c:pt idx="2139">
                  <c:v>17732</c:v>
                </c:pt>
                <c:pt idx="2140">
                  <c:v>17735</c:v>
                </c:pt>
                <c:pt idx="2141">
                  <c:v>17736</c:v>
                </c:pt>
                <c:pt idx="2142">
                  <c:v>17737</c:v>
                </c:pt>
                <c:pt idx="2143">
                  <c:v>17738</c:v>
                </c:pt>
                <c:pt idx="2144">
                  <c:v>17739</c:v>
                </c:pt>
                <c:pt idx="2145">
                  <c:v>17742</c:v>
                </c:pt>
                <c:pt idx="2146">
                  <c:v>17743</c:v>
                </c:pt>
                <c:pt idx="2147">
                  <c:v>17744</c:v>
                </c:pt>
                <c:pt idx="2148">
                  <c:v>17745</c:v>
                </c:pt>
                <c:pt idx="2149">
                  <c:v>17746</c:v>
                </c:pt>
                <c:pt idx="2150">
                  <c:v>17750</c:v>
                </c:pt>
                <c:pt idx="2151">
                  <c:v>17751</c:v>
                </c:pt>
                <c:pt idx="2152">
                  <c:v>17752</c:v>
                </c:pt>
                <c:pt idx="2153">
                  <c:v>17753</c:v>
                </c:pt>
                <c:pt idx="2154">
                  <c:v>17756</c:v>
                </c:pt>
                <c:pt idx="2155">
                  <c:v>17757</c:v>
                </c:pt>
                <c:pt idx="2156">
                  <c:v>17758</c:v>
                </c:pt>
                <c:pt idx="2157">
                  <c:v>17759</c:v>
                </c:pt>
                <c:pt idx="2158">
                  <c:v>17760</c:v>
                </c:pt>
                <c:pt idx="2159">
                  <c:v>17763</c:v>
                </c:pt>
                <c:pt idx="2160">
                  <c:v>17764</c:v>
                </c:pt>
                <c:pt idx="2161">
                  <c:v>17765</c:v>
                </c:pt>
                <c:pt idx="2162">
                  <c:v>17766</c:v>
                </c:pt>
                <c:pt idx="2163">
                  <c:v>17767</c:v>
                </c:pt>
                <c:pt idx="2164">
                  <c:v>17770</c:v>
                </c:pt>
                <c:pt idx="2165">
                  <c:v>17771</c:v>
                </c:pt>
                <c:pt idx="2166">
                  <c:v>17772</c:v>
                </c:pt>
                <c:pt idx="2167">
                  <c:v>17773</c:v>
                </c:pt>
                <c:pt idx="2168">
                  <c:v>17774</c:v>
                </c:pt>
                <c:pt idx="2169">
                  <c:v>17777</c:v>
                </c:pt>
                <c:pt idx="2170">
                  <c:v>17778</c:v>
                </c:pt>
                <c:pt idx="2171">
                  <c:v>17779</c:v>
                </c:pt>
                <c:pt idx="2172">
                  <c:v>17780</c:v>
                </c:pt>
                <c:pt idx="2173">
                  <c:v>17781</c:v>
                </c:pt>
                <c:pt idx="2174">
                  <c:v>17784</c:v>
                </c:pt>
                <c:pt idx="2175">
                  <c:v>17785</c:v>
                </c:pt>
                <c:pt idx="2176">
                  <c:v>17786</c:v>
                </c:pt>
                <c:pt idx="2177">
                  <c:v>17787</c:v>
                </c:pt>
                <c:pt idx="2178">
                  <c:v>17788</c:v>
                </c:pt>
                <c:pt idx="2179">
                  <c:v>17791</c:v>
                </c:pt>
                <c:pt idx="2180">
                  <c:v>17792</c:v>
                </c:pt>
                <c:pt idx="2181">
                  <c:v>17793</c:v>
                </c:pt>
                <c:pt idx="2182">
                  <c:v>17794</c:v>
                </c:pt>
                <c:pt idx="2183">
                  <c:v>17795</c:v>
                </c:pt>
                <c:pt idx="2184">
                  <c:v>17798</c:v>
                </c:pt>
                <c:pt idx="2185">
                  <c:v>17799</c:v>
                </c:pt>
                <c:pt idx="2186">
                  <c:v>17800</c:v>
                </c:pt>
                <c:pt idx="2187">
                  <c:v>17801</c:v>
                </c:pt>
                <c:pt idx="2188">
                  <c:v>17802</c:v>
                </c:pt>
                <c:pt idx="2189">
                  <c:v>17805</c:v>
                </c:pt>
                <c:pt idx="2190">
                  <c:v>17806</c:v>
                </c:pt>
                <c:pt idx="2191">
                  <c:v>17807</c:v>
                </c:pt>
                <c:pt idx="2192">
                  <c:v>17808</c:v>
                </c:pt>
                <c:pt idx="2193">
                  <c:v>17809</c:v>
                </c:pt>
                <c:pt idx="2194">
                  <c:v>17812</c:v>
                </c:pt>
                <c:pt idx="2195">
                  <c:v>17813</c:v>
                </c:pt>
                <c:pt idx="2196">
                  <c:v>17814</c:v>
                </c:pt>
                <c:pt idx="2197">
                  <c:v>17815</c:v>
                </c:pt>
                <c:pt idx="2198">
                  <c:v>17816</c:v>
                </c:pt>
                <c:pt idx="2199">
                  <c:v>17819</c:v>
                </c:pt>
                <c:pt idx="2200">
                  <c:v>17820</c:v>
                </c:pt>
                <c:pt idx="2201">
                  <c:v>17821</c:v>
                </c:pt>
                <c:pt idx="2202">
                  <c:v>17822</c:v>
                </c:pt>
                <c:pt idx="2203">
                  <c:v>17823</c:v>
                </c:pt>
                <c:pt idx="2204">
                  <c:v>17826</c:v>
                </c:pt>
                <c:pt idx="2205">
                  <c:v>17827</c:v>
                </c:pt>
                <c:pt idx="2206">
                  <c:v>17828</c:v>
                </c:pt>
                <c:pt idx="2207">
                  <c:v>17829</c:v>
                </c:pt>
                <c:pt idx="2208">
                  <c:v>17830</c:v>
                </c:pt>
                <c:pt idx="2209">
                  <c:v>17833</c:v>
                </c:pt>
                <c:pt idx="2210">
                  <c:v>17834</c:v>
                </c:pt>
                <c:pt idx="2211">
                  <c:v>17835</c:v>
                </c:pt>
                <c:pt idx="2212">
                  <c:v>17836</c:v>
                </c:pt>
                <c:pt idx="2213">
                  <c:v>17837</c:v>
                </c:pt>
                <c:pt idx="2214">
                  <c:v>17840</c:v>
                </c:pt>
                <c:pt idx="2215">
                  <c:v>17841</c:v>
                </c:pt>
                <c:pt idx="2216">
                  <c:v>17842</c:v>
                </c:pt>
                <c:pt idx="2217">
                  <c:v>17843</c:v>
                </c:pt>
                <c:pt idx="2218">
                  <c:v>17844</c:v>
                </c:pt>
                <c:pt idx="2219">
                  <c:v>17847</c:v>
                </c:pt>
                <c:pt idx="2220">
                  <c:v>17848</c:v>
                </c:pt>
                <c:pt idx="2221">
                  <c:v>17849</c:v>
                </c:pt>
                <c:pt idx="2222">
                  <c:v>17850</c:v>
                </c:pt>
                <c:pt idx="2223">
                  <c:v>17851</c:v>
                </c:pt>
                <c:pt idx="2224">
                  <c:v>17854</c:v>
                </c:pt>
                <c:pt idx="2225">
                  <c:v>17855</c:v>
                </c:pt>
                <c:pt idx="2226">
                  <c:v>17856</c:v>
                </c:pt>
                <c:pt idx="2227">
                  <c:v>17857</c:v>
                </c:pt>
                <c:pt idx="2228">
                  <c:v>17858</c:v>
                </c:pt>
                <c:pt idx="2229">
                  <c:v>17861</c:v>
                </c:pt>
                <c:pt idx="2230">
                  <c:v>17862</c:v>
                </c:pt>
                <c:pt idx="2231">
                  <c:v>17863</c:v>
                </c:pt>
                <c:pt idx="2232">
                  <c:v>17864</c:v>
                </c:pt>
                <c:pt idx="2233">
                  <c:v>17865</c:v>
                </c:pt>
                <c:pt idx="2234">
                  <c:v>17868</c:v>
                </c:pt>
                <c:pt idx="2235">
                  <c:v>17869</c:v>
                </c:pt>
                <c:pt idx="2236">
                  <c:v>17870</c:v>
                </c:pt>
                <c:pt idx="2237">
                  <c:v>17871</c:v>
                </c:pt>
                <c:pt idx="2238">
                  <c:v>17872</c:v>
                </c:pt>
                <c:pt idx="2239">
                  <c:v>17875</c:v>
                </c:pt>
                <c:pt idx="2240">
                  <c:v>17876</c:v>
                </c:pt>
                <c:pt idx="2241">
                  <c:v>17877</c:v>
                </c:pt>
                <c:pt idx="2242">
                  <c:v>17878</c:v>
                </c:pt>
                <c:pt idx="2243">
                  <c:v>17879</c:v>
                </c:pt>
                <c:pt idx="2244">
                  <c:v>17882</c:v>
                </c:pt>
                <c:pt idx="2245">
                  <c:v>17883</c:v>
                </c:pt>
                <c:pt idx="2246">
                  <c:v>17884</c:v>
                </c:pt>
                <c:pt idx="2247">
                  <c:v>17885</c:v>
                </c:pt>
                <c:pt idx="2248">
                  <c:v>17886</c:v>
                </c:pt>
                <c:pt idx="2249">
                  <c:v>17892</c:v>
                </c:pt>
                <c:pt idx="2250">
                  <c:v>17893</c:v>
                </c:pt>
                <c:pt idx="2251">
                  <c:v>17896</c:v>
                </c:pt>
                <c:pt idx="2252">
                  <c:v>17897</c:v>
                </c:pt>
                <c:pt idx="2253">
                  <c:v>17898</c:v>
                </c:pt>
                <c:pt idx="2254">
                  <c:v>17899</c:v>
                </c:pt>
                <c:pt idx="2255">
                  <c:v>17900</c:v>
                </c:pt>
                <c:pt idx="2256">
                  <c:v>17903</c:v>
                </c:pt>
                <c:pt idx="2257">
                  <c:v>17904</c:v>
                </c:pt>
                <c:pt idx="2258">
                  <c:v>17905</c:v>
                </c:pt>
                <c:pt idx="2259">
                  <c:v>17906</c:v>
                </c:pt>
                <c:pt idx="2260">
                  <c:v>17907</c:v>
                </c:pt>
                <c:pt idx="2261">
                  <c:v>17910</c:v>
                </c:pt>
                <c:pt idx="2262">
                  <c:v>17911</c:v>
                </c:pt>
                <c:pt idx="2263">
                  <c:v>17912</c:v>
                </c:pt>
                <c:pt idx="2264">
                  <c:v>17913</c:v>
                </c:pt>
                <c:pt idx="2265">
                  <c:v>17914</c:v>
                </c:pt>
                <c:pt idx="2266">
                  <c:v>17917</c:v>
                </c:pt>
                <c:pt idx="2267">
                  <c:v>17918</c:v>
                </c:pt>
                <c:pt idx="2268">
                  <c:v>17919</c:v>
                </c:pt>
                <c:pt idx="2269">
                  <c:v>17920</c:v>
                </c:pt>
                <c:pt idx="2270">
                  <c:v>17921</c:v>
                </c:pt>
                <c:pt idx="2271">
                  <c:v>17924</c:v>
                </c:pt>
                <c:pt idx="2272">
                  <c:v>17925</c:v>
                </c:pt>
                <c:pt idx="2273">
                  <c:v>17926</c:v>
                </c:pt>
                <c:pt idx="2274">
                  <c:v>17927</c:v>
                </c:pt>
                <c:pt idx="2275">
                  <c:v>17928</c:v>
                </c:pt>
                <c:pt idx="2276">
                  <c:v>17931</c:v>
                </c:pt>
                <c:pt idx="2277">
                  <c:v>17932</c:v>
                </c:pt>
                <c:pt idx="2278">
                  <c:v>17933</c:v>
                </c:pt>
                <c:pt idx="2279">
                  <c:v>17934</c:v>
                </c:pt>
                <c:pt idx="2280">
                  <c:v>17935</c:v>
                </c:pt>
                <c:pt idx="2281">
                  <c:v>17938</c:v>
                </c:pt>
                <c:pt idx="2282">
                  <c:v>17939</c:v>
                </c:pt>
                <c:pt idx="2283">
                  <c:v>17940</c:v>
                </c:pt>
                <c:pt idx="2284">
                  <c:v>17941</c:v>
                </c:pt>
                <c:pt idx="2285">
                  <c:v>17942</c:v>
                </c:pt>
                <c:pt idx="2286">
                  <c:v>17945</c:v>
                </c:pt>
                <c:pt idx="2287">
                  <c:v>17946</c:v>
                </c:pt>
                <c:pt idx="2288">
                  <c:v>17947</c:v>
                </c:pt>
                <c:pt idx="2289">
                  <c:v>17948</c:v>
                </c:pt>
                <c:pt idx="2290">
                  <c:v>17949</c:v>
                </c:pt>
                <c:pt idx="2291">
                  <c:v>17952</c:v>
                </c:pt>
                <c:pt idx="2292">
                  <c:v>17953</c:v>
                </c:pt>
                <c:pt idx="2293">
                  <c:v>17954</c:v>
                </c:pt>
                <c:pt idx="2294">
                  <c:v>17955</c:v>
                </c:pt>
                <c:pt idx="2295">
                  <c:v>17956</c:v>
                </c:pt>
                <c:pt idx="2296">
                  <c:v>17959</c:v>
                </c:pt>
                <c:pt idx="2297">
                  <c:v>17960</c:v>
                </c:pt>
                <c:pt idx="2298">
                  <c:v>17961</c:v>
                </c:pt>
                <c:pt idx="2299">
                  <c:v>17962</c:v>
                </c:pt>
                <c:pt idx="2300">
                  <c:v>17963</c:v>
                </c:pt>
                <c:pt idx="2301">
                  <c:v>17966</c:v>
                </c:pt>
                <c:pt idx="2302">
                  <c:v>17967</c:v>
                </c:pt>
                <c:pt idx="2303">
                  <c:v>17968</c:v>
                </c:pt>
                <c:pt idx="2304">
                  <c:v>17969</c:v>
                </c:pt>
                <c:pt idx="2305">
                  <c:v>17970</c:v>
                </c:pt>
                <c:pt idx="2306">
                  <c:v>17973</c:v>
                </c:pt>
                <c:pt idx="2307">
                  <c:v>17974</c:v>
                </c:pt>
                <c:pt idx="2308">
                  <c:v>17975</c:v>
                </c:pt>
                <c:pt idx="2309">
                  <c:v>17976</c:v>
                </c:pt>
                <c:pt idx="2310">
                  <c:v>17977</c:v>
                </c:pt>
                <c:pt idx="2311">
                  <c:v>17978</c:v>
                </c:pt>
                <c:pt idx="2312">
                  <c:v>17979</c:v>
                </c:pt>
                <c:pt idx="2313">
                  <c:v>17980</c:v>
                </c:pt>
                <c:pt idx="2314">
                  <c:v>17981</c:v>
                </c:pt>
                <c:pt idx="2315">
                  <c:v>17982</c:v>
                </c:pt>
                <c:pt idx="2316">
                  <c:v>17983</c:v>
                </c:pt>
                <c:pt idx="2317">
                  <c:v>17984</c:v>
                </c:pt>
                <c:pt idx="2318">
                  <c:v>17985</c:v>
                </c:pt>
                <c:pt idx="2319">
                  <c:v>17986</c:v>
                </c:pt>
                <c:pt idx="2320">
                  <c:v>17987</c:v>
                </c:pt>
                <c:pt idx="2321">
                  <c:v>17988</c:v>
                </c:pt>
                <c:pt idx="2322">
                  <c:v>17989</c:v>
                </c:pt>
                <c:pt idx="2323">
                  <c:v>17990</c:v>
                </c:pt>
                <c:pt idx="2324">
                  <c:v>17991</c:v>
                </c:pt>
                <c:pt idx="2325">
                  <c:v>17992</c:v>
                </c:pt>
                <c:pt idx="2326">
                  <c:v>17993</c:v>
                </c:pt>
                <c:pt idx="2327">
                  <c:v>17994</c:v>
                </c:pt>
                <c:pt idx="2328">
                  <c:v>17995</c:v>
                </c:pt>
                <c:pt idx="2329">
                  <c:v>17996</c:v>
                </c:pt>
                <c:pt idx="2330">
                  <c:v>17997</c:v>
                </c:pt>
                <c:pt idx="2331">
                  <c:v>17998</c:v>
                </c:pt>
                <c:pt idx="2332">
                  <c:v>17999</c:v>
                </c:pt>
                <c:pt idx="2333">
                  <c:v>18000</c:v>
                </c:pt>
                <c:pt idx="2334">
                  <c:v>18001</c:v>
                </c:pt>
                <c:pt idx="2335">
                  <c:v>18002</c:v>
                </c:pt>
                <c:pt idx="2336">
                  <c:v>18003</c:v>
                </c:pt>
                <c:pt idx="2337">
                  <c:v>18004</c:v>
                </c:pt>
                <c:pt idx="2338">
                  <c:v>18005</c:v>
                </c:pt>
                <c:pt idx="2339">
                  <c:v>18006</c:v>
                </c:pt>
                <c:pt idx="2340">
                  <c:v>18007</c:v>
                </c:pt>
                <c:pt idx="2341">
                  <c:v>18008</c:v>
                </c:pt>
                <c:pt idx="2342">
                  <c:v>18009</c:v>
                </c:pt>
                <c:pt idx="2343">
                  <c:v>18010</c:v>
                </c:pt>
                <c:pt idx="2344">
                  <c:v>18011</c:v>
                </c:pt>
                <c:pt idx="2345">
                  <c:v>18012</c:v>
                </c:pt>
                <c:pt idx="2346">
                  <c:v>18013</c:v>
                </c:pt>
                <c:pt idx="2347">
                  <c:v>18014</c:v>
                </c:pt>
                <c:pt idx="2348">
                  <c:v>18015</c:v>
                </c:pt>
                <c:pt idx="2349">
                  <c:v>18016</c:v>
                </c:pt>
                <c:pt idx="2350">
                  <c:v>18017</c:v>
                </c:pt>
                <c:pt idx="2351">
                  <c:v>18018</c:v>
                </c:pt>
                <c:pt idx="2352">
                  <c:v>18019</c:v>
                </c:pt>
                <c:pt idx="2353">
                  <c:v>18020</c:v>
                </c:pt>
                <c:pt idx="2354">
                  <c:v>18021</c:v>
                </c:pt>
                <c:pt idx="2355">
                  <c:v>18022</c:v>
                </c:pt>
                <c:pt idx="2356">
                  <c:v>18023</c:v>
                </c:pt>
                <c:pt idx="2357">
                  <c:v>18024</c:v>
                </c:pt>
                <c:pt idx="2358">
                  <c:v>18025</c:v>
                </c:pt>
                <c:pt idx="2359">
                  <c:v>18026</c:v>
                </c:pt>
                <c:pt idx="2360">
                  <c:v>18027</c:v>
                </c:pt>
                <c:pt idx="2361">
                  <c:v>18028</c:v>
                </c:pt>
                <c:pt idx="2362">
                  <c:v>18029</c:v>
                </c:pt>
                <c:pt idx="2363">
                  <c:v>18030</c:v>
                </c:pt>
                <c:pt idx="2364">
                  <c:v>18031</c:v>
                </c:pt>
                <c:pt idx="2365">
                  <c:v>18032</c:v>
                </c:pt>
                <c:pt idx="2366">
                  <c:v>18033</c:v>
                </c:pt>
                <c:pt idx="2367">
                  <c:v>18034</c:v>
                </c:pt>
                <c:pt idx="2368">
                  <c:v>18035</c:v>
                </c:pt>
                <c:pt idx="2369">
                  <c:v>18036</c:v>
                </c:pt>
                <c:pt idx="2370">
                  <c:v>18037</c:v>
                </c:pt>
                <c:pt idx="2371">
                  <c:v>18038</c:v>
                </c:pt>
                <c:pt idx="2372">
                  <c:v>18039</c:v>
                </c:pt>
                <c:pt idx="2373">
                  <c:v>18040</c:v>
                </c:pt>
                <c:pt idx="2374">
                  <c:v>18041</c:v>
                </c:pt>
                <c:pt idx="2375">
                  <c:v>18042</c:v>
                </c:pt>
                <c:pt idx="2376">
                  <c:v>18043</c:v>
                </c:pt>
                <c:pt idx="2377">
                  <c:v>18044</c:v>
                </c:pt>
                <c:pt idx="2378">
                  <c:v>18045</c:v>
                </c:pt>
                <c:pt idx="2379">
                  <c:v>18046</c:v>
                </c:pt>
                <c:pt idx="2380">
                  <c:v>18047</c:v>
                </c:pt>
                <c:pt idx="2381">
                  <c:v>18048</c:v>
                </c:pt>
                <c:pt idx="2382">
                  <c:v>18049</c:v>
                </c:pt>
                <c:pt idx="2383">
                  <c:v>18050</c:v>
                </c:pt>
                <c:pt idx="2384">
                  <c:v>18051</c:v>
                </c:pt>
                <c:pt idx="2385">
                  <c:v>18052</c:v>
                </c:pt>
                <c:pt idx="2386">
                  <c:v>18053</c:v>
                </c:pt>
                <c:pt idx="2387">
                  <c:v>18054</c:v>
                </c:pt>
                <c:pt idx="2388">
                  <c:v>18055</c:v>
                </c:pt>
                <c:pt idx="2389">
                  <c:v>18056</c:v>
                </c:pt>
                <c:pt idx="2390">
                  <c:v>18057</c:v>
                </c:pt>
                <c:pt idx="2391">
                  <c:v>18058</c:v>
                </c:pt>
                <c:pt idx="2392">
                  <c:v>18059</c:v>
                </c:pt>
                <c:pt idx="2393">
                  <c:v>18060</c:v>
                </c:pt>
                <c:pt idx="2394">
                  <c:v>18061</c:v>
                </c:pt>
                <c:pt idx="2395">
                  <c:v>18062</c:v>
                </c:pt>
                <c:pt idx="2396">
                  <c:v>18063</c:v>
                </c:pt>
                <c:pt idx="2397">
                  <c:v>18064</c:v>
                </c:pt>
                <c:pt idx="2398">
                  <c:v>18065</c:v>
                </c:pt>
                <c:pt idx="2399">
                  <c:v>18066</c:v>
                </c:pt>
                <c:pt idx="2400">
                  <c:v>18067</c:v>
                </c:pt>
                <c:pt idx="2401">
                  <c:v>18068</c:v>
                </c:pt>
                <c:pt idx="2402">
                  <c:v>18069</c:v>
                </c:pt>
                <c:pt idx="2403">
                  <c:v>18070</c:v>
                </c:pt>
                <c:pt idx="2404">
                  <c:v>18071</c:v>
                </c:pt>
                <c:pt idx="2405">
                  <c:v>18072</c:v>
                </c:pt>
                <c:pt idx="2406">
                  <c:v>18073</c:v>
                </c:pt>
                <c:pt idx="2407">
                  <c:v>18074</c:v>
                </c:pt>
                <c:pt idx="2408">
                  <c:v>18075</c:v>
                </c:pt>
                <c:pt idx="2409">
                  <c:v>18076</c:v>
                </c:pt>
                <c:pt idx="2410">
                  <c:v>18077</c:v>
                </c:pt>
                <c:pt idx="2411">
                  <c:v>18078</c:v>
                </c:pt>
                <c:pt idx="2412">
                  <c:v>18079</c:v>
                </c:pt>
                <c:pt idx="2413">
                  <c:v>18080</c:v>
                </c:pt>
                <c:pt idx="2414">
                  <c:v>18081</c:v>
                </c:pt>
                <c:pt idx="2415">
                  <c:v>18082</c:v>
                </c:pt>
                <c:pt idx="2416">
                  <c:v>18083</c:v>
                </c:pt>
                <c:pt idx="2417">
                  <c:v>18084</c:v>
                </c:pt>
                <c:pt idx="2418">
                  <c:v>18085</c:v>
                </c:pt>
                <c:pt idx="2419">
                  <c:v>18086</c:v>
                </c:pt>
                <c:pt idx="2420">
                  <c:v>18087</c:v>
                </c:pt>
                <c:pt idx="2421">
                  <c:v>18088</c:v>
                </c:pt>
                <c:pt idx="2422">
                  <c:v>18089</c:v>
                </c:pt>
                <c:pt idx="2423">
                  <c:v>18090</c:v>
                </c:pt>
                <c:pt idx="2424">
                  <c:v>18091</c:v>
                </c:pt>
                <c:pt idx="2425">
                  <c:v>18092</c:v>
                </c:pt>
                <c:pt idx="2426">
                  <c:v>18093</c:v>
                </c:pt>
                <c:pt idx="2427">
                  <c:v>18094</c:v>
                </c:pt>
                <c:pt idx="2428">
                  <c:v>18095</c:v>
                </c:pt>
                <c:pt idx="2429">
                  <c:v>18096</c:v>
                </c:pt>
                <c:pt idx="2430">
                  <c:v>18097</c:v>
                </c:pt>
                <c:pt idx="2431">
                  <c:v>18098</c:v>
                </c:pt>
                <c:pt idx="2432">
                  <c:v>18099</c:v>
                </c:pt>
                <c:pt idx="2433">
                  <c:v>18100</c:v>
                </c:pt>
                <c:pt idx="2434">
                  <c:v>18101</c:v>
                </c:pt>
                <c:pt idx="2435">
                  <c:v>18102</c:v>
                </c:pt>
                <c:pt idx="2436">
                  <c:v>18103</c:v>
                </c:pt>
                <c:pt idx="2437">
                  <c:v>18104</c:v>
                </c:pt>
                <c:pt idx="2438">
                  <c:v>18105</c:v>
                </c:pt>
                <c:pt idx="2439">
                  <c:v>18106</c:v>
                </c:pt>
                <c:pt idx="2440">
                  <c:v>18107</c:v>
                </c:pt>
                <c:pt idx="2441">
                  <c:v>18108</c:v>
                </c:pt>
                <c:pt idx="2442">
                  <c:v>18109</c:v>
                </c:pt>
                <c:pt idx="2443">
                  <c:v>18110</c:v>
                </c:pt>
                <c:pt idx="2444">
                  <c:v>18111</c:v>
                </c:pt>
                <c:pt idx="2445">
                  <c:v>18112</c:v>
                </c:pt>
                <c:pt idx="2446">
                  <c:v>18113</c:v>
                </c:pt>
                <c:pt idx="2447">
                  <c:v>18114</c:v>
                </c:pt>
                <c:pt idx="2448">
                  <c:v>18115</c:v>
                </c:pt>
                <c:pt idx="2449">
                  <c:v>18116</c:v>
                </c:pt>
                <c:pt idx="2450">
                  <c:v>18117</c:v>
                </c:pt>
                <c:pt idx="2451">
                  <c:v>18118</c:v>
                </c:pt>
                <c:pt idx="2452">
                  <c:v>18119</c:v>
                </c:pt>
                <c:pt idx="2453">
                  <c:v>18120</c:v>
                </c:pt>
                <c:pt idx="2454">
                  <c:v>18121</c:v>
                </c:pt>
                <c:pt idx="2455">
                  <c:v>18122</c:v>
                </c:pt>
                <c:pt idx="2456">
                  <c:v>18123</c:v>
                </c:pt>
                <c:pt idx="2457">
                  <c:v>18124</c:v>
                </c:pt>
                <c:pt idx="2458">
                  <c:v>18125</c:v>
                </c:pt>
                <c:pt idx="2459">
                  <c:v>18126</c:v>
                </c:pt>
                <c:pt idx="2460">
                  <c:v>18127</c:v>
                </c:pt>
                <c:pt idx="2461">
                  <c:v>18128</c:v>
                </c:pt>
                <c:pt idx="2462">
                  <c:v>18129</c:v>
                </c:pt>
                <c:pt idx="2463">
                  <c:v>18130</c:v>
                </c:pt>
                <c:pt idx="2464">
                  <c:v>18131</c:v>
                </c:pt>
                <c:pt idx="2465">
                  <c:v>18132</c:v>
                </c:pt>
                <c:pt idx="2466">
                  <c:v>18133</c:v>
                </c:pt>
                <c:pt idx="2467">
                  <c:v>18134</c:v>
                </c:pt>
                <c:pt idx="2468">
                  <c:v>18135</c:v>
                </c:pt>
                <c:pt idx="2469">
                  <c:v>18136</c:v>
                </c:pt>
                <c:pt idx="2470">
                  <c:v>18137</c:v>
                </c:pt>
                <c:pt idx="2471">
                  <c:v>18138</c:v>
                </c:pt>
                <c:pt idx="2472">
                  <c:v>18139</c:v>
                </c:pt>
                <c:pt idx="2473">
                  <c:v>18140</c:v>
                </c:pt>
                <c:pt idx="2474">
                  <c:v>18141</c:v>
                </c:pt>
                <c:pt idx="2475">
                  <c:v>18142</c:v>
                </c:pt>
                <c:pt idx="2476">
                  <c:v>18143</c:v>
                </c:pt>
                <c:pt idx="2477">
                  <c:v>18144</c:v>
                </c:pt>
                <c:pt idx="2478">
                  <c:v>18145</c:v>
                </c:pt>
                <c:pt idx="2479">
                  <c:v>18146</c:v>
                </c:pt>
                <c:pt idx="2480">
                  <c:v>18147</c:v>
                </c:pt>
                <c:pt idx="2481">
                  <c:v>18148</c:v>
                </c:pt>
                <c:pt idx="2482">
                  <c:v>18149</c:v>
                </c:pt>
                <c:pt idx="2483">
                  <c:v>18150</c:v>
                </c:pt>
                <c:pt idx="2484">
                  <c:v>18151</c:v>
                </c:pt>
                <c:pt idx="2485">
                  <c:v>18152</c:v>
                </c:pt>
                <c:pt idx="2486">
                  <c:v>18153</c:v>
                </c:pt>
                <c:pt idx="2487">
                  <c:v>18154</c:v>
                </c:pt>
                <c:pt idx="2488">
                  <c:v>18155</c:v>
                </c:pt>
                <c:pt idx="2489">
                  <c:v>18156</c:v>
                </c:pt>
                <c:pt idx="2490">
                  <c:v>18157</c:v>
                </c:pt>
                <c:pt idx="2491">
                  <c:v>18158</c:v>
                </c:pt>
                <c:pt idx="2492">
                  <c:v>18159</c:v>
                </c:pt>
                <c:pt idx="2493">
                  <c:v>18160</c:v>
                </c:pt>
                <c:pt idx="2494">
                  <c:v>18161</c:v>
                </c:pt>
                <c:pt idx="2495">
                  <c:v>18162</c:v>
                </c:pt>
                <c:pt idx="2496">
                  <c:v>18163</c:v>
                </c:pt>
                <c:pt idx="2497">
                  <c:v>18164</c:v>
                </c:pt>
                <c:pt idx="2498">
                  <c:v>18165</c:v>
                </c:pt>
                <c:pt idx="2499">
                  <c:v>18166</c:v>
                </c:pt>
                <c:pt idx="2500">
                  <c:v>18167</c:v>
                </c:pt>
                <c:pt idx="2501">
                  <c:v>18168</c:v>
                </c:pt>
                <c:pt idx="2502">
                  <c:v>18169</c:v>
                </c:pt>
                <c:pt idx="2503">
                  <c:v>18170</c:v>
                </c:pt>
                <c:pt idx="2504">
                  <c:v>18171</c:v>
                </c:pt>
                <c:pt idx="2505">
                  <c:v>18172</c:v>
                </c:pt>
                <c:pt idx="2506">
                  <c:v>18173</c:v>
                </c:pt>
                <c:pt idx="2507">
                  <c:v>18174</c:v>
                </c:pt>
                <c:pt idx="2508">
                  <c:v>18175</c:v>
                </c:pt>
                <c:pt idx="2509">
                  <c:v>18176</c:v>
                </c:pt>
                <c:pt idx="2510">
                  <c:v>18177</c:v>
                </c:pt>
                <c:pt idx="2511">
                  <c:v>18178</c:v>
                </c:pt>
                <c:pt idx="2512">
                  <c:v>18179</c:v>
                </c:pt>
                <c:pt idx="2513">
                  <c:v>18180</c:v>
                </c:pt>
                <c:pt idx="2514">
                  <c:v>18181</c:v>
                </c:pt>
                <c:pt idx="2515">
                  <c:v>18182</c:v>
                </c:pt>
                <c:pt idx="2516">
                  <c:v>18183</c:v>
                </c:pt>
                <c:pt idx="2517">
                  <c:v>18184</c:v>
                </c:pt>
                <c:pt idx="2518">
                  <c:v>18185</c:v>
                </c:pt>
                <c:pt idx="2519">
                  <c:v>18186</c:v>
                </c:pt>
                <c:pt idx="2520">
                  <c:v>18187</c:v>
                </c:pt>
                <c:pt idx="2521">
                  <c:v>18188</c:v>
                </c:pt>
                <c:pt idx="2522">
                  <c:v>18189</c:v>
                </c:pt>
                <c:pt idx="2523">
                  <c:v>18190</c:v>
                </c:pt>
                <c:pt idx="2524">
                  <c:v>18191</c:v>
                </c:pt>
                <c:pt idx="2525">
                  <c:v>18192</c:v>
                </c:pt>
                <c:pt idx="2526">
                  <c:v>18193</c:v>
                </c:pt>
                <c:pt idx="2527">
                  <c:v>18194</c:v>
                </c:pt>
                <c:pt idx="2528">
                  <c:v>18195</c:v>
                </c:pt>
                <c:pt idx="2529">
                  <c:v>18196</c:v>
                </c:pt>
                <c:pt idx="2530">
                  <c:v>18197</c:v>
                </c:pt>
                <c:pt idx="2531">
                  <c:v>18198</c:v>
                </c:pt>
                <c:pt idx="2532">
                  <c:v>18199</c:v>
                </c:pt>
                <c:pt idx="2533">
                  <c:v>18200</c:v>
                </c:pt>
                <c:pt idx="2534">
                  <c:v>18201</c:v>
                </c:pt>
                <c:pt idx="2535">
                  <c:v>18202</c:v>
                </c:pt>
                <c:pt idx="2536">
                  <c:v>18203</c:v>
                </c:pt>
                <c:pt idx="2537">
                  <c:v>18204</c:v>
                </c:pt>
                <c:pt idx="2538">
                  <c:v>18205</c:v>
                </c:pt>
                <c:pt idx="2539">
                  <c:v>18206</c:v>
                </c:pt>
                <c:pt idx="2540">
                  <c:v>18207</c:v>
                </c:pt>
                <c:pt idx="2541">
                  <c:v>18208</c:v>
                </c:pt>
                <c:pt idx="2542">
                  <c:v>18209</c:v>
                </c:pt>
                <c:pt idx="2543">
                  <c:v>18210</c:v>
                </c:pt>
                <c:pt idx="2544">
                  <c:v>18211</c:v>
                </c:pt>
                <c:pt idx="2545">
                  <c:v>18212</c:v>
                </c:pt>
                <c:pt idx="2546">
                  <c:v>18213</c:v>
                </c:pt>
                <c:pt idx="2547">
                  <c:v>18214</c:v>
                </c:pt>
                <c:pt idx="2548">
                  <c:v>18215</c:v>
                </c:pt>
                <c:pt idx="2549">
                  <c:v>18216</c:v>
                </c:pt>
                <c:pt idx="2550">
                  <c:v>18217</c:v>
                </c:pt>
                <c:pt idx="2551">
                  <c:v>18218</c:v>
                </c:pt>
                <c:pt idx="2552">
                  <c:v>18219</c:v>
                </c:pt>
                <c:pt idx="2553">
                  <c:v>18220</c:v>
                </c:pt>
                <c:pt idx="2554">
                  <c:v>18221</c:v>
                </c:pt>
                <c:pt idx="2555">
                  <c:v>18222</c:v>
                </c:pt>
                <c:pt idx="2556">
                  <c:v>18223</c:v>
                </c:pt>
                <c:pt idx="2557">
                  <c:v>18224</c:v>
                </c:pt>
                <c:pt idx="2558">
                  <c:v>18225</c:v>
                </c:pt>
                <c:pt idx="2559">
                  <c:v>18226</c:v>
                </c:pt>
                <c:pt idx="2560">
                  <c:v>18227</c:v>
                </c:pt>
                <c:pt idx="2561">
                  <c:v>18228</c:v>
                </c:pt>
                <c:pt idx="2562">
                  <c:v>18229</c:v>
                </c:pt>
                <c:pt idx="2563">
                  <c:v>18230</c:v>
                </c:pt>
                <c:pt idx="2564">
                  <c:v>18231</c:v>
                </c:pt>
                <c:pt idx="2565">
                  <c:v>18232</c:v>
                </c:pt>
                <c:pt idx="2566">
                  <c:v>18233</c:v>
                </c:pt>
                <c:pt idx="2567">
                  <c:v>18234</c:v>
                </c:pt>
                <c:pt idx="2568">
                  <c:v>18235</c:v>
                </c:pt>
                <c:pt idx="2569">
                  <c:v>18236</c:v>
                </c:pt>
                <c:pt idx="2570">
                  <c:v>18237</c:v>
                </c:pt>
                <c:pt idx="2571">
                  <c:v>18238</c:v>
                </c:pt>
                <c:pt idx="2572">
                  <c:v>18239</c:v>
                </c:pt>
                <c:pt idx="2573">
                  <c:v>18240</c:v>
                </c:pt>
                <c:pt idx="2574">
                  <c:v>18241</c:v>
                </c:pt>
                <c:pt idx="2575">
                  <c:v>18242</c:v>
                </c:pt>
                <c:pt idx="2576">
                  <c:v>18243</c:v>
                </c:pt>
                <c:pt idx="2577">
                  <c:v>18244</c:v>
                </c:pt>
                <c:pt idx="2578">
                  <c:v>18245</c:v>
                </c:pt>
                <c:pt idx="2579">
                  <c:v>18246</c:v>
                </c:pt>
                <c:pt idx="2580">
                  <c:v>18247</c:v>
                </c:pt>
                <c:pt idx="2581">
                  <c:v>18248</c:v>
                </c:pt>
                <c:pt idx="2582">
                  <c:v>18249</c:v>
                </c:pt>
                <c:pt idx="2583">
                  <c:v>18250</c:v>
                </c:pt>
                <c:pt idx="2584">
                  <c:v>18251</c:v>
                </c:pt>
                <c:pt idx="2585">
                  <c:v>18252</c:v>
                </c:pt>
                <c:pt idx="2586">
                  <c:v>18253</c:v>
                </c:pt>
                <c:pt idx="2587">
                  <c:v>18254</c:v>
                </c:pt>
                <c:pt idx="2588">
                  <c:v>18255</c:v>
                </c:pt>
                <c:pt idx="2589">
                  <c:v>18256</c:v>
                </c:pt>
                <c:pt idx="2590">
                  <c:v>18257</c:v>
                </c:pt>
                <c:pt idx="2591">
                  <c:v>18258</c:v>
                </c:pt>
                <c:pt idx="2592">
                  <c:v>18259</c:v>
                </c:pt>
                <c:pt idx="2593">
                  <c:v>18260</c:v>
                </c:pt>
                <c:pt idx="2594">
                  <c:v>18261</c:v>
                </c:pt>
              </c:numCache>
            </c:numRef>
          </c:xVal>
          <c:yVal>
            <c:numRef>
              <c:f>Sheet1!$A$2:$CUU$2</c:f>
              <c:numCache>
                <c:formatCode>General</c:formatCode>
                <c:ptCount val="2595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9.5</c:v>
                </c:pt>
                <c:pt idx="18">
                  <c:v>9.5</c:v>
                </c:pt>
                <c:pt idx="19">
                  <c:v>9.5</c:v>
                </c:pt>
                <c:pt idx="20">
                  <c:v>9.5</c:v>
                </c:pt>
                <c:pt idx="21">
                  <c:v>9.5</c:v>
                </c:pt>
                <c:pt idx="22">
                  <c:v>9.5</c:v>
                </c:pt>
                <c:pt idx="23">
                  <c:v>9.5</c:v>
                </c:pt>
                <c:pt idx="24">
                  <c:v>9.5</c:v>
                </c:pt>
                <c:pt idx="25">
                  <c:v>9.5</c:v>
                </c:pt>
                <c:pt idx="26">
                  <c:v>9.5</c:v>
                </c:pt>
                <c:pt idx="27">
                  <c:v>9.5</c:v>
                </c:pt>
                <c:pt idx="28">
                  <c:v>9.5</c:v>
                </c:pt>
                <c:pt idx="29">
                  <c:v>9.5</c:v>
                </c:pt>
                <c:pt idx="30">
                  <c:v>9.5</c:v>
                </c:pt>
                <c:pt idx="31">
                  <c:v>9.5</c:v>
                </c:pt>
                <c:pt idx="32">
                  <c:v>9.5</c:v>
                </c:pt>
                <c:pt idx="33">
                  <c:v>9.5</c:v>
                </c:pt>
                <c:pt idx="34">
                  <c:v>9.5</c:v>
                </c:pt>
                <c:pt idx="35">
                  <c:v>9.5</c:v>
                </c:pt>
                <c:pt idx="36">
                  <c:v>9.5</c:v>
                </c:pt>
                <c:pt idx="37">
                  <c:v>9.5</c:v>
                </c:pt>
                <c:pt idx="38">
                  <c:v>9.5</c:v>
                </c:pt>
                <c:pt idx="39">
                  <c:v>9.5</c:v>
                </c:pt>
                <c:pt idx="40">
                  <c:v>9.5</c:v>
                </c:pt>
                <c:pt idx="41">
                  <c:v>9.5</c:v>
                </c:pt>
                <c:pt idx="42">
                  <c:v>9.5</c:v>
                </c:pt>
                <c:pt idx="43">
                  <c:v>9.5</c:v>
                </c:pt>
                <c:pt idx="44">
                  <c:v>9.5</c:v>
                </c:pt>
                <c:pt idx="45">
                  <c:v>9.5</c:v>
                </c:pt>
                <c:pt idx="46">
                  <c:v>9.5</c:v>
                </c:pt>
                <c:pt idx="47">
                  <c:v>9.5</c:v>
                </c:pt>
                <c:pt idx="48">
                  <c:v>9.5</c:v>
                </c:pt>
                <c:pt idx="49">
                  <c:v>9.5</c:v>
                </c:pt>
                <c:pt idx="50">
                  <c:v>9.5</c:v>
                </c:pt>
                <c:pt idx="51">
                  <c:v>9.5</c:v>
                </c:pt>
                <c:pt idx="52">
                  <c:v>9</c:v>
                </c:pt>
                <c:pt idx="53">
                  <c:v>9</c:v>
                </c:pt>
                <c:pt idx="54">
                  <c:v>9</c:v>
                </c:pt>
                <c:pt idx="55">
                  <c:v>9</c:v>
                </c:pt>
                <c:pt idx="56">
                  <c:v>9</c:v>
                </c:pt>
                <c:pt idx="57">
                  <c:v>9</c:v>
                </c:pt>
                <c:pt idx="58">
                  <c:v>9</c:v>
                </c:pt>
                <c:pt idx="59">
                  <c:v>9</c:v>
                </c:pt>
                <c:pt idx="60">
                  <c:v>9</c:v>
                </c:pt>
                <c:pt idx="61">
                  <c:v>9</c:v>
                </c:pt>
                <c:pt idx="62">
                  <c:v>9</c:v>
                </c:pt>
                <c:pt idx="63">
                  <c:v>9</c:v>
                </c:pt>
                <c:pt idx="64">
                  <c:v>9</c:v>
                </c:pt>
                <c:pt idx="65">
                  <c:v>9</c:v>
                </c:pt>
                <c:pt idx="66">
                  <c:v>9</c:v>
                </c:pt>
                <c:pt idx="67">
                  <c:v>9</c:v>
                </c:pt>
                <c:pt idx="68">
                  <c:v>9</c:v>
                </c:pt>
                <c:pt idx="69">
                  <c:v>9</c:v>
                </c:pt>
                <c:pt idx="70">
                  <c:v>9</c:v>
                </c:pt>
                <c:pt idx="71">
                  <c:v>9</c:v>
                </c:pt>
                <c:pt idx="72">
                  <c:v>9</c:v>
                </c:pt>
                <c:pt idx="73">
                  <c:v>9</c:v>
                </c:pt>
                <c:pt idx="74">
                  <c:v>9</c:v>
                </c:pt>
                <c:pt idx="75">
                  <c:v>9</c:v>
                </c:pt>
                <c:pt idx="76">
                  <c:v>9</c:v>
                </c:pt>
                <c:pt idx="77">
                  <c:v>9</c:v>
                </c:pt>
                <c:pt idx="78">
                  <c:v>9</c:v>
                </c:pt>
                <c:pt idx="79">
                  <c:v>9</c:v>
                </c:pt>
                <c:pt idx="80">
                  <c:v>9</c:v>
                </c:pt>
                <c:pt idx="81">
                  <c:v>9</c:v>
                </c:pt>
                <c:pt idx="82">
                  <c:v>9</c:v>
                </c:pt>
                <c:pt idx="83">
                  <c:v>8.5</c:v>
                </c:pt>
                <c:pt idx="84">
                  <c:v>8.5</c:v>
                </c:pt>
                <c:pt idx="85">
                  <c:v>8.5</c:v>
                </c:pt>
                <c:pt idx="86">
                  <c:v>8.5</c:v>
                </c:pt>
                <c:pt idx="87">
                  <c:v>8.5</c:v>
                </c:pt>
                <c:pt idx="88">
                  <c:v>8.5</c:v>
                </c:pt>
                <c:pt idx="89">
                  <c:v>8.5</c:v>
                </c:pt>
                <c:pt idx="90">
                  <c:v>8.5</c:v>
                </c:pt>
                <c:pt idx="91">
                  <c:v>8.5</c:v>
                </c:pt>
                <c:pt idx="92">
                  <c:v>8.5</c:v>
                </c:pt>
                <c:pt idx="93">
                  <c:v>8.5</c:v>
                </c:pt>
                <c:pt idx="94">
                  <c:v>8.5</c:v>
                </c:pt>
                <c:pt idx="95">
                  <c:v>8.5</c:v>
                </c:pt>
                <c:pt idx="96">
                  <c:v>8.5</c:v>
                </c:pt>
                <c:pt idx="97">
                  <c:v>8.5</c:v>
                </c:pt>
                <c:pt idx="98">
                  <c:v>8.5</c:v>
                </c:pt>
                <c:pt idx="99">
                  <c:v>8.5</c:v>
                </c:pt>
                <c:pt idx="100">
                  <c:v>8.5</c:v>
                </c:pt>
                <c:pt idx="101">
                  <c:v>8.5</c:v>
                </c:pt>
                <c:pt idx="102">
                  <c:v>8.5</c:v>
                </c:pt>
                <c:pt idx="103">
                  <c:v>8.5</c:v>
                </c:pt>
                <c:pt idx="104">
                  <c:v>8.5</c:v>
                </c:pt>
                <c:pt idx="105">
                  <c:v>8.5</c:v>
                </c:pt>
                <c:pt idx="106">
                  <c:v>8.5</c:v>
                </c:pt>
                <c:pt idx="107">
                  <c:v>8.5</c:v>
                </c:pt>
                <c:pt idx="108">
                  <c:v>8.5</c:v>
                </c:pt>
                <c:pt idx="109">
                  <c:v>8.5</c:v>
                </c:pt>
                <c:pt idx="110">
                  <c:v>8.5</c:v>
                </c:pt>
                <c:pt idx="111">
                  <c:v>8.5</c:v>
                </c:pt>
                <c:pt idx="112">
                  <c:v>8.5</c:v>
                </c:pt>
                <c:pt idx="113">
                  <c:v>8.5</c:v>
                </c:pt>
                <c:pt idx="114">
                  <c:v>8.5</c:v>
                </c:pt>
                <c:pt idx="115">
                  <c:v>8</c:v>
                </c:pt>
                <c:pt idx="116">
                  <c:v>8</c:v>
                </c:pt>
                <c:pt idx="117">
                  <c:v>8</c:v>
                </c:pt>
                <c:pt idx="118">
                  <c:v>8</c:v>
                </c:pt>
                <c:pt idx="119">
                  <c:v>8</c:v>
                </c:pt>
                <c:pt idx="120">
                  <c:v>8</c:v>
                </c:pt>
                <c:pt idx="121">
                  <c:v>8</c:v>
                </c:pt>
                <c:pt idx="122">
                  <c:v>8</c:v>
                </c:pt>
                <c:pt idx="123">
                  <c:v>8</c:v>
                </c:pt>
                <c:pt idx="124">
                  <c:v>8</c:v>
                </c:pt>
                <c:pt idx="125">
                  <c:v>8</c:v>
                </c:pt>
                <c:pt idx="126">
                  <c:v>8</c:v>
                </c:pt>
                <c:pt idx="127">
                  <c:v>8</c:v>
                </c:pt>
                <c:pt idx="128">
                  <c:v>8</c:v>
                </c:pt>
                <c:pt idx="129">
                  <c:v>8</c:v>
                </c:pt>
                <c:pt idx="130">
                  <c:v>8</c:v>
                </c:pt>
                <c:pt idx="131">
                  <c:v>8</c:v>
                </c:pt>
                <c:pt idx="132">
                  <c:v>8</c:v>
                </c:pt>
                <c:pt idx="133">
                  <c:v>8</c:v>
                </c:pt>
                <c:pt idx="134">
                  <c:v>8</c:v>
                </c:pt>
                <c:pt idx="135">
                  <c:v>8</c:v>
                </c:pt>
                <c:pt idx="136">
                  <c:v>8</c:v>
                </c:pt>
                <c:pt idx="137">
                  <c:v>8</c:v>
                </c:pt>
                <c:pt idx="138">
                  <c:v>8</c:v>
                </c:pt>
                <c:pt idx="139">
                  <c:v>8</c:v>
                </c:pt>
                <c:pt idx="140">
                  <c:v>8</c:v>
                </c:pt>
                <c:pt idx="141">
                  <c:v>8</c:v>
                </c:pt>
                <c:pt idx="142">
                  <c:v>8</c:v>
                </c:pt>
                <c:pt idx="143">
                  <c:v>8</c:v>
                </c:pt>
                <c:pt idx="144">
                  <c:v>8</c:v>
                </c:pt>
                <c:pt idx="145">
                  <c:v>8</c:v>
                </c:pt>
                <c:pt idx="146">
                  <c:v>8</c:v>
                </c:pt>
                <c:pt idx="147">
                  <c:v>8</c:v>
                </c:pt>
                <c:pt idx="148">
                  <c:v>8</c:v>
                </c:pt>
                <c:pt idx="149">
                  <c:v>8</c:v>
                </c:pt>
                <c:pt idx="150">
                  <c:v>8</c:v>
                </c:pt>
                <c:pt idx="151">
                  <c:v>8</c:v>
                </c:pt>
                <c:pt idx="152">
                  <c:v>8</c:v>
                </c:pt>
                <c:pt idx="153">
                  <c:v>8</c:v>
                </c:pt>
                <c:pt idx="154">
                  <c:v>7</c:v>
                </c:pt>
                <c:pt idx="155">
                  <c:v>7</c:v>
                </c:pt>
                <c:pt idx="156">
                  <c:v>7</c:v>
                </c:pt>
                <c:pt idx="157">
                  <c:v>7</c:v>
                </c:pt>
                <c:pt idx="158">
                  <c:v>7</c:v>
                </c:pt>
                <c:pt idx="159">
                  <c:v>7</c:v>
                </c:pt>
                <c:pt idx="160">
                  <c:v>7</c:v>
                </c:pt>
                <c:pt idx="161">
                  <c:v>7</c:v>
                </c:pt>
                <c:pt idx="162">
                  <c:v>7</c:v>
                </c:pt>
                <c:pt idx="163">
                  <c:v>7</c:v>
                </c:pt>
                <c:pt idx="164">
                  <c:v>7</c:v>
                </c:pt>
                <c:pt idx="165">
                  <c:v>7</c:v>
                </c:pt>
                <c:pt idx="166">
                  <c:v>7</c:v>
                </c:pt>
                <c:pt idx="167">
                  <c:v>7</c:v>
                </c:pt>
                <c:pt idx="168">
                  <c:v>7</c:v>
                </c:pt>
                <c:pt idx="169">
                  <c:v>7</c:v>
                </c:pt>
                <c:pt idx="170">
                  <c:v>7</c:v>
                </c:pt>
                <c:pt idx="171">
                  <c:v>7</c:v>
                </c:pt>
                <c:pt idx="172">
                  <c:v>7</c:v>
                </c:pt>
                <c:pt idx="173">
                  <c:v>7</c:v>
                </c:pt>
                <c:pt idx="174">
                  <c:v>7</c:v>
                </c:pt>
                <c:pt idx="175">
                  <c:v>7</c:v>
                </c:pt>
                <c:pt idx="176">
                  <c:v>7</c:v>
                </c:pt>
                <c:pt idx="177">
                  <c:v>7</c:v>
                </c:pt>
                <c:pt idx="178">
                  <c:v>7</c:v>
                </c:pt>
                <c:pt idx="179">
                  <c:v>6.25</c:v>
                </c:pt>
                <c:pt idx="180">
                  <c:v>6.25</c:v>
                </c:pt>
                <c:pt idx="181">
                  <c:v>6.25</c:v>
                </c:pt>
                <c:pt idx="182">
                  <c:v>6.25</c:v>
                </c:pt>
                <c:pt idx="183">
                  <c:v>6.25</c:v>
                </c:pt>
                <c:pt idx="184">
                  <c:v>6.25</c:v>
                </c:pt>
                <c:pt idx="185">
                  <c:v>6.25</c:v>
                </c:pt>
                <c:pt idx="186">
                  <c:v>6.25</c:v>
                </c:pt>
                <c:pt idx="187">
                  <c:v>6.25</c:v>
                </c:pt>
                <c:pt idx="188">
                  <c:v>6.25</c:v>
                </c:pt>
                <c:pt idx="189">
                  <c:v>6.25</c:v>
                </c:pt>
                <c:pt idx="190">
                  <c:v>6.25</c:v>
                </c:pt>
                <c:pt idx="191">
                  <c:v>6.25</c:v>
                </c:pt>
                <c:pt idx="192">
                  <c:v>6.25</c:v>
                </c:pt>
                <c:pt idx="193">
                  <c:v>6.25</c:v>
                </c:pt>
                <c:pt idx="194">
                  <c:v>6.25</c:v>
                </c:pt>
                <c:pt idx="195">
                  <c:v>6.25</c:v>
                </c:pt>
                <c:pt idx="196">
                  <c:v>6.25</c:v>
                </c:pt>
                <c:pt idx="197">
                  <c:v>6.25</c:v>
                </c:pt>
                <c:pt idx="198">
                  <c:v>6.25</c:v>
                </c:pt>
                <c:pt idx="199">
                  <c:v>6.25</c:v>
                </c:pt>
                <c:pt idx="200">
                  <c:v>6.25</c:v>
                </c:pt>
                <c:pt idx="201">
                  <c:v>6.25</c:v>
                </c:pt>
                <c:pt idx="202">
                  <c:v>6.25</c:v>
                </c:pt>
                <c:pt idx="203">
                  <c:v>6.25</c:v>
                </c:pt>
                <c:pt idx="204">
                  <c:v>6.25</c:v>
                </c:pt>
                <c:pt idx="205">
                  <c:v>6.25</c:v>
                </c:pt>
                <c:pt idx="206">
                  <c:v>6.25</c:v>
                </c:pt>
                <c:pt idx="207">
                  <c:v>6.25</c:v>
                </c:pt>
                <c:pt idx="208">
                  <c:v>6.25</c:v>
                </c:pt>
                <c:pt idx="209">
                  <c:v>5.5</c:v>
                </c:pt>
                <c:pt idx="210">
                  <c:v>5.5</c:v>
                </c:pt>
                <c:pt idx="211">
                  <c:v>5.5</c:v>
                </c:pt>
                <c:pt idx="212">
                  <c:v>5.5</c:v>
                </c:pt>
                <c:pt idx="213">
                  <c:v>5.5</c:v>
                </c:pt>
                <c:pt idx="214">
                  <c:v>5.5</c:v>
                </c:pt>
                <c:pt idx="215">
                  <c:v>5.5</c:v>
                </c:pt>
                <c:pt idx="216">
                  <c:v>5.5</c:v>
                </c:pt>
                <c:pt idx="217">
                  <c:v>5.5</c:v>
                </c:pt>
                <c:pt idx="218">
                  <c:v>5.5</c:v>
                </c:pt>
                <c:pt idx="219">
                  <c:v>5.5</c:v>
                </c:pt>
                <c:pt idx="220">
                  <c:v>5.5</c:v>
                </c:pt>
                <c:pt idx="221">
                  <c:v>5.5</c:v>
                </c:pt>
                <c:pt idx="222">
                  <c:v>5.5</c:v>
                </c:pt>
                <c:pt idx="223">
                  <c:v>5.5</c:v>
                </c:pt>
                <c:pt idx="224">
                  <c:v>5.5</c:v>
                </c:pt>
                <c:pt idx="225">
                  <c:v>5.5</c:v>
                </c:pt>
                <c:pt idx="226">
                  <c:v>5.5</c:v>
                </c:pt>
                <c:pt idx="227">
                  <c:v>5.5</c:v>
                </c:pt>
                <c:pt idx="228">
                  <c:v>5.5</c:v>
                </c:pt>
                <c:pt idx="229">
                  <c:v>5.5</c:v>
                </c:pt>
                <c:pt idx="230">
                  <c:v>5.5</c:v>
                </c:pt>
                <c:pt idx="231">
                  <c:v>5.5</c:v>
                </c:pt>
                <c:pt idx="232">
                  <c:v>5.5</c:v>
                </c:pt>
                <c:pt idx="233">
                  <c:v>5.5</c:v>
                </c:pt>
                <c:pt idx="234">
                  <c:v>4.5</c:v>
                </c:pt>
                <c:pt idx="235">
                  <c:v>4.5</c:v>
                </c:pt>
                <c:pt idx="236">
                  <c:v>4.5</c:v>
                </c:pt>
                <c:pt idx="237">
                  <c:v>4.5</c:v>
                </c:pt>
                <c:pt idx="238">
                  <c:v>4.5</c:v>
                </c:pt>
                <c:pt idx="239">
                  <c:v>4.5</c:v>
                </c:pt>
                <c:pt idx="240">
                  <c:v>4.5</c:v>
                </c:pt>
                <c:pt idx="241">
                  <c:v>4.5</c:v>
                </c:pt>
                <c:pt idx="242">
                  <c:v>4.5</c:v>
                </c:pt>
                <c:pt idx="243">
                  <c:v>4.5</c:v>
                </c:pt>
                <c:pt idx="244">
                  <c:v>4.5</c:v>
                </c:pt>
                <c:pt idx="245">
                  <c:v>4.5</c:v>
                </c:pt>
                <c:pt idx="246">
                  <c:v>4.5</c:v>
                </c:pt>
                <c:pt idx="247">
                  <c:v>4.5</c:v>
                </c:pt>
                <c:pt idx="248">
                  <c:v>4.5</c:v>
                </c:pt>
                <c:pt idx="249">
                  <c:v>4.5</c:v>
                </c:pt>
                <c:pt idx="250">
                  <c:v>4.5</c:v>
                </c:pt>
                <c:pt idx="251">
                  <c:v>4.5</c:v>
                </c:pt>
                <c:pt idx="252">
                  <c:v>4.5</c:v>
                </c:pt>
                <c:pt idx="253">
                  <c:v>4.5</c:v>
                </c:pt>
                <c:pt idx="254">
                  <c:v>4.5</c:v>
                </c:pt>
                <c:pt idx="255">
                  <c:v>4.5</c:v>
                </c:pt>
                <c:pt idx="256">
                  <c:v>4.5</c:v>
                </c:pt>
                <c:pt idx="257">
                  <c:v>4.5</c:v>
                </c:pt>
                <c:pt idx="258">
                  <c:v>4.5</c:v>
                </c:pt>
                <c:pt idx="259">
                  <c:v>4.5</c:v>
                </c:pt>
                <c:pt idx="260">
                  <c:v>4.5</c:v>
                </c:pt>
                <c:pt idx="261">
                  <c:v>4.5</c:v>
                </c:pt>
                <c:pt idx="262">
                  <c:v>4.5</c:v>
                </c:pt>
                <c:pt idx="263">
                  <c:v>4.5</c:v>
                </c:pt>
                <c:pt idx="264">
                  <c:v>4.5</c:v>
                </c:pt>
                <c:pt idx="265">
                  <c:v>4.5</c:v>
                </c:pt>
                <c:pt idx="266">
                  <c:v>4.5</c:v>
                </c:pt>
                <c:pt idx="267">
                  <c:v>4.5</c:v>
                </c:pt>
                <c:pt idx="268">
                  <c:v>4.5</c:v>
                </c:pt>
                <c:pt idx="269">
                  <c:v>4.5</c:v>
                </c:pt>
                <c:pt idx="270">
                  <c:v>4.5</c:v>
                </c:pt>
                <c:pt idx="271">
                  <c:v>4.5</c:v>
                </c:pt>
                <c:pt idx="272">
                  <c:v>4.5</c:v>
                </c:pt>
                <c:pt idx="273">
                  <c:v>4.25</c:v>
                </c:pt>
                <c:pt idx="274">
                  <c:v>4.25</c:v>
                </c:pt>
                <c:pt idx="275">
                  <c:v>4.25</c:v>
                </c:pt>
                <c:pt idx="276">
                  <c:v>4.25</c:v>
                </c:pt>
                <c:pt idx="277">
                  <c:v>4.25</c:v>
                </c:pt>
                <c:pt idx="278">
                  <c:v>4.25</c:v>
                </c:pt>
                <c:pt idx="279">
                  <c:v>4.25</c:v>
                </c:pt>
                <c:pt idx="280">
                  <c:v>4.25</c:v>
                </c:pt>
                <c:pt idx="281">
                  <c:v>4.25</c:v>
                </c:pt>
                <c:pt idx="282">
                  <c:v>4.25</c:v>
                </c:pt>
                <c:pt idx="283">
                  <c:v>4.25</c:v>
                </c:pt>
                <c:pt idx="284">
                  <c:v>4.25</c:v>
                </c:pt>
                <c:pt idx="285">
                  <c:v>4.25</c:v>
                </c:pt>
                <c:pt idx="286">
                  <c:v>4.25</c:v>
                </c:pt>
                <c:pt idx="287">
                  <c:v>4.25</c:v>
                </c:pt>
                <c:pt idx="288">
                  <c:v>4.25</c:v>
                </c:pt>
                <c:pt idx="289">
                  <c:v>4.25</c:v>
                </c:pt>
                <c:pt idx="290">
                  <c:v>4.25</c:v>
                </c:pt>
                <c:pt idx="291">
                  <c:v>4.25</c:v>
                </c:pt>
                <c:pt idx="292">
                  <c:v>4.25</c:v>
                </c:pt>
                <c:pt idx="293">
                  <c:v>4.25</c:v>
                </c:pt>
                <c:pt idx="294">
                  <c:v>4.25</c:v>
                </c:pt>
                <c:pt idx="295">
                  <c:v>4.25</c:v>
                </c:pt>
                <c:pt idx="296">
                  <c:v>4.25</c:v>
                </c:pt>
                <c:pt idx="297">
                  <c:v>4.25</c:v>
                </c:pt>
                <c:pt idx="298">
                  <c:v>4.25</c:v>
                </c:pt>
                <c:pt idx="299">
                  <c:v>4.25</c:v>
                </c:pt>
                <c:pt idx="300">
                  <c:v>4.25</c:v>
                </c:pt>
                <c:pt idx="301">
                  <c:v>4.25</c:v>
                </c:pt>
                <c:pt idx="302">
                  <c:v>4.25</c:v>
                </c:pt>
                <c:pt idx="303">
                  <c:v>4.25</c:v>
                </c:pt>
                <c:pt idx="304">
                  <c:v>4.25</c:v>
                </c:pt>
                <c:pt idx="305">
                  <c:v>4.25</c:v>
                </c:pt>
                <c:pt idx="306">
                  <c:v>4.25</c:v>
                </c:pt>
                <c:pt idx="307">
                  <c:v>4.25</c:v>
                </c:pt>
                <c:pt idx="308">
                  <c:v>4.25</c:v>
                </c:pt>
                <c:pt idx="309">
                  <c:v>4.25</c:v>
                </c:pt>
                <c:pt idx="310">
                  <c:v>4.25</c:v>
                </c:pt>
                <c:pt idx="311">
                  <c:v>4.25</c:v>
                </c:pt>
                <c:pt idx="312">
                  <c:v>4.25</c:v>
                </c:pt>
                <c:pt idx="313">
                  <c:v>4.25</c:v>
                </c:pt>
                <c:pt idx="314">
                  <c:v>4.25</c:v>
                </c:pt>
                <c:pt idx="315">
                  <c:v>4.25</c:v>
                </c:pt>
                <c:pt idx="316">
                  <c:v>4.25</c:v>
                </c:pt>
                <c:pt idx="317">
                  <c:v>4.25</c:v>
                </c:pt>
                <c:pt idx="318">
                  <c:v>4.25</c:v>
                </c:pt>
                <c:pt idx="319">
                  <c:v>4.25</c:v>
                </c:pt>
                <c:pt idx="320">
                  <c:v>4.25</c:v>
                </c:pt>
                <c:pt idx="321">
                  <c:v>4.25</c:v>
                </c:pt>
                <c:pt idx="322">
                  <c:v>4.25</c:v>
                </c:pt>
                <c:pt idx="323">
                  <c:v>4.25</c:v>
                </c:pt>
                <c:pt idx="324">
                  <c:v>4.25</c:v>
                </c:pt>
                <c:pt idx="325">
                  <c:v>4.25</c:v>
                </c:pt>
                <c:pt idx="326">
                  <c:v>4.25</c:v>
                </c:pt>
                <c:pt idx="327">
                  <c:v>4.25</c:v>
                </c:pt>
                <c:pt idx="328">
                  <c:v>4.25</c:v>
                </c:pt>
                <c:pt idx="329">
                  <c:v>4.25</c:v>
                </c:pt>
                <c:pt idx="330">
                  <c:v>4.25</c:v>
                </c:pt>
                <c:pt idx="331">
                  <c:v>4.25</c:v>
                </c:pt>
                <c:pt idx="332">
                  <c:v>4.25</c:v>
                </c:pt>
                <c:pt idx="333">
                  <c:v>4.25</c:v>
                </c:pt>
                <c:pt idx="334">
                  <c:v>4.25</c:v>
                </c:pt>
                <c:pt idx="335">
                  <c:v>4.25</c:v>
                </c:pt>
                <c:pt idx="336">
                  <c:v>4.25</c:v>
                </c:pt>
                <c:pt idx="337">
                  <c:v>4.25</c:v>
                </c:pt>
                <c:pt idx="338">
                  <c:v>4.25</c:v>
                </c:pt>
                <c:pt idx="339">
                  <c:v>4.25</c:v>
                </c:pt>
                <c:pt idx="340">
                  <c:v>4.25</c:v>
                </c:pt>
                <c:pt idx="341">
                  <c:v>4.25</c:v>
                </c:pt>
                <c:pt idx="342">
                  <c:v>4.25</c:v>
                </c:pt>
                <c:pt idx="343">
                  <c:v>4.25</c:v>
                </c:pt>
                <c:pt idx="344">
                  <c:v>4.25</c:v>
                </c:pt>
                <c:pt idx="345">
                  <c:v>4.25</c:v>
                </c:pt>
                <c:pt idx="346">
                  <c:v>4.25</c:v>
                </c:pt>
                <c:pt idx="347">
                  <c:v>4.25</c:v>
                </c:pt>
                <c:pt idx="348">
                  <c:v>4.25</c:v>
                </c:pt>
                <c:pt idx="349">
                  <c:v>4.25</c:v>
                </c:pt>
                <c:pt idx="350">
                  <c:v>4.25</c:v>
                </c:pt>
                <c:pt idx="351">
                  <c:v>4.25</c:v>
                </c:pt>
                <c:pt idx="352">
                  <c:v>4.25</c:v>
                </c:pt>
                <c:pt idx="353">
                  <c:v>4.25</c:v>
                </c:pt>
                <c:pt idx="354">
                  <c:v>4.25</c:v>
                </c:pt>
                <c:pt idx="355">
                  <c:v>4.25</c:v>
                </c:pt>
                <c:pt idx="356">
                  <c:v>4.25</c:v>
                </c:pt>
                <c:pt idx="357">
                  <c:v>4.25</c:v>
                </c:pt>
                <c:pt idx="358">
                  <c:v>4.25</c:v>
                </c:pt>
                <c:pt idx="359">
                  <c:v>4.25</c:v>
                </c:pt>
                <c:pt idx="360">
                  <c:v>4.25</c:v>
                </c:pt>
                <c:pt idx="361">
                  <c:v>4.25</c:v>
                </c:pt>
                <c:pt idx="362">
                  <c:v>4.25</c:v>
                </c:pt>
                <c:pt idx="363">
                  <c:v>4.25</c:v>
                </c:pt>
                <c:pt idx="364">
                  <c:v>4.25</c:v>
                </c:pt>
                <c:pt idx="365">
                  <c:v>4.25</c:v>
                </c:pt>
                <c:pt idx="366">
                  <c:v>4.25</c:v>
                </c:pt>
                <c:pt idx="367">
                  <c:v>4.25</c:v>
                </c:pt>
                <c:pt idx="368">
                  <c:v>4.25</c:v>
                </c:pt>
                <c:pt idx="369">
                  <c:v>4.25</c:v>
                </c:pt>
                <c:pt idx="370">
                  <c:v>4.25</c:v>
                </c:pt>
                <c:pt idx="371">
                  <c:v>4.25</c:v>
                </c:pt>
                <c:pt idx="372">
                  <c:v>4.25</c:v>
                </c:pt>
                <c:pt idx="373">
                  <c:v>4.25</c:v>
                </c:pt>
                <c:pt idx="374">
                  <c:v>4.25</c:v>
                </c:pt>
                <c:pt idx="375">
                  <c:v>4.25</c:v>
                </c:pt>
                <c:pt idx="376">
                  <c:v>4.25</c:v>
                </c:pt>
                <c:pt idx="377">
                  <c:v>4.25</c:v>
                </c:pt>
                <c:pt idx="378">
                  <c:v>4.25</c:v>
                </c:pt>
                <c:pt idx="379">
                  <c:v>4.25</c:v>
                </c:pt>
                <c:pt idx="380">
                  <c:v>4.25</c:v>
                </c:pt>
                <c:pt idx="381">
                  <c:v>4.25</c:v>
                </c:pt>
                <c:pt idx="382">
                  <c:v>4.25</c:v>
                </c:pt>
                <c:pt idx="383">
                  <c:v>4.25</c:v>
                </c:pt>
                <c:pt idx="384">
                  <c:v>4.25</c:v>
                </c:pt>
                <c:pt idx="385">
                  <c:v>4.25</c:v>
                </c:pt>
                <c:pt idx="386">
                  <c:v>4.25</c:v>
                </c:pt>
                <c:pt idx="387">
                  <c:v>4.25</c:v>
                </c:pt>
                <c:pt idx="388">
                  <c:v>4.25</c:v>
                </c:pt>
                <c:pt idx="389">
                  <c:v>4.25</c:v>
                </c:pt>
                <c:pt idx="390">
                  <c:v>4.25</c:v>
                </c:pt>
                <c:pt idx="391">
                  <c:v>4.25</c:v>
                </c:pt>
                <c:pt idx="392">
                  <c:v>4.25</c:v>
                </c:pt>
                <c:pt idx="393">
                  <c:v>4.25</c:v>
                </c:pt>
                <c:pt idx="394">
                  <c:v>4.25</c:v>
                </c:pt>
                <c:pt idx="395">
                  <c:v>4.25</c:v>
                </c:pt>
                <c:pt idx="396">
                  <c:v>4.25</c:v>
                </c:pt>
                <c:pt idx="397">
                  <c:v>4.25</c:v>
                </c:pt>
                <c:pt idx="398">
                  <c:v>4.25</c:v>
                </c:pt>
                <c:pt idx="399">
                  <c:v>4.25</c:v>
                </c:pt>
                <c:pt idx="400">
                  <c:v>4.25</c:v>
                </c:pt>
                <c:pt idx="401">
                  <c:v>4.25</c:v>
                </c:pt>
                <c:pt idx="402">
                  <c:v>4.25</c:v>
                </c:pt>
                <c:pt idx="403">
                  <c:v>4.25</c:v>
                </c:pt>
                <c:pt idx="404">
                  <c:v>4.25</c:v>
                </c:pt>
                <c:pt idx="405">
                  <c:v>4.25</c:v>
                </c:pt>
                <c:pt idx="406">
                  <c:v>4.5</c:v>
                </c:pt>
                <c:pt idx="407">
                  <c:v>4.5</c:v>
                </c:pt>
                <c:pt idx="408">
                  <c:v>4.5</c:v>
                </c:pt>
                <c:pt idx="409">
                  <c:v>4.5</c:v>
                </c:pt>
                <c:pt idx="410">
                  <c:v>4.5</c:v>
                </c:pt>
                <c:pt idx="411">
                  <c:v>4.5</c:v>
                </c:pt>
                <c:pt idx="412">
                  <c:v>4.5</c:v>
                </c:pt>
                <c:pt idx="413">
                  <c:v>4.5</c:v>
                </c:pt>
                <c:pt idx="414">
                  <c:v>4.5</c:v>
                </c:pt>
                <c:pt idx="415">
                  <c:v>4.5</c:v>
                </c:pt>
                <c:pt idx="416">
                  <c:v>4.5</c:v>
                </c:pt>
                <c:pt idx="417">
                  <c:v>4.5</c:v>
                </c:pt>
                <c:pt idx="418">
                  <c:v>4.5</c:v>
                </c:pt>
                <c:pt idx="419">
                  <c:v>4.5</c:v>
                </c:pt>
                <c:pt idx="420">
                  <c:v>4.5</c:v>
                </c:pt>
                <c:pt idx="421">
                  <c:v>4.5</c:v>
                </c:pt>
                <c:pt idx="422">
                  <c:v>4.5</c:v>
                </c:pt>
                <c:pt idx="423">
                  <c:v>4.5</c:v>
                </c:pt>
                <c:pt idx="424">
                  <c:v>4.5</c:v>
                </c:pt>
                <c:pt idx="425">
                  <c:v>4.5</c:v>
                </c:pt>
                <c:pt idx="426">
                  <c:v>4.5</c:v>
                </c:pt>
                <c:pt idx="427">
                  <c:v>4.5</c:v>
                </c:pt>
                <c:pt idx="428">
                  <c:v>4.5</c:v>
                </c:pt>
                <c:pt idx="429">
                  <c:v>4.5</c:v>
                </c:pt>
                <c:pt idx="430">
                  <c:v>4.5</c:v>
                </c:pt>
                <c:pt idx="431">
                  <c:v>4.5</c:v>
                </c:pt>
                <c:pt idx="432">
                  <c:v>4.5</c:v>
                </c:pt>
                <c:pt idx="433">
                  <c:v>4.5</c:v>
                </c:pt>
                <c:pt idx="434">
                  <c:v>4.5</c:v>
                </c:pt>
                <c:pt idx="435">
                  <c:v>4.5</c:v>
                </c:pt>
                <c:pt idx="436">
                  <c:v>4.5</c:v>
                </c:pt>
                <c:pt idx="437">
                  <c:v>4.5</c:v>
                </c:pt>
                <c:pt idx="438">
                  <c:v>4.5</c:v>
                </c:pt>
                <c:pt idx="439">
                  <c:v>4.5</c:v>
                </c:pt>
                <c:pt idx="440">
                  <c:v>4.5</c:v>
                </c:pt>
                <c:pt idx="441">
                  <c:v>4.5</c:v>
                </c:pt>
                <c:pt idx="442">
                  <c:v>4.5</c:v>
                </c:pt>
                <c:pt idx="443">
                  <c:v>4.5</c:v>
                </c:pt>
                <c:pt idx="444">
                  <c:v>4.5</c:v>
                </c:pt>
                <c:pt idx="445">
                  <c:v>4.5</c:v>
                </c:pt>
                <c:pt idx="446">
                  <c:v>4.5</c:v>
                </c:pt>
                <c:pt idx="447">
                  <c:v>4.5</c:v>
                </c:pt>
                <c:pt idx="448">
                  <c:v>4.5</c:v>
                </c:pt>
                <c:pt idx="449">
                  <c:v>4.5</c:v>
                </c:pt>
                <c:pt idx="450">
                  <c:v>4.5</c:v>
                </c:pt>
                <c:pt idx="451">
                  <c:v>4.5</c:v>
                </c:pt>
                <c:pt idx="452">
                  <c:v>4.5</c:v>
                </c:pt>
                <c:pt idx="453">
                  <c:v>4.5</c:v>
                </c:pt>
                <c:pt idx="454">
                  <c:v>4.5</c:v>
                </c:pt>
                <c:pt idx="455">
                  <c:v>4.5</c:v>
                </c:pt>
                <c:pt idx="456">
                  <c:v>4.5</c:v>
                </c:pt>
                <c:pt idx="457">
                  <c:v>4.5</c:v>
                </c:pt>
                <c:pt idx="458">
                  <c:v>4.5</c:v>
                </c:pt>
                <c:pt idx="459">
                  <c:v>4.5</c:v>
                </c:pt>
                <c:pt idx="460">
                  <c:v>4.5</c:v>
                </c:pt>
                <c:pt idx="461">
                  <c:v>4.75</c:v>
                </c:pt>
                <c:pt idx="462">
                  <c:v>4.75</c:v>
                </c:pt>
                <c:pt idx="463">
                  <c:v>4.75</c:v>
                </c:pt>
                <c:pt idx="464">
                  <c:v>4.75</c:v>
                </c:pt>
                <c:pt idx="465">
                  <c:v>4.75</c:v>
                </c:pt>
                <c:pt idx="466">
                  <c:v>4.75</c:v>
                </c:pt>
                <c:pt idx="467">
                  <c:v>4.75</c:v>
                </c:pt>
                <c:pt idx="468">
                  <c:v>4.75</c:v>
                </c:pt>
                <c:pt idx="469">
                  <c:v>4.75</c:v>
                </c:pt>
                <c:pt idx="470">
                  <c:v>4.75</c:v>
                </c:pt>
                <c:pt idx="471">
                  <c:v>4.75</c:v>
                </c:pt>
                <c:pt idx="472">
                  <c:v>4.75</c:v>
                </c:pt>
                <c:pt idx="473">
                  <c:v>4.75</c:v>
                </c:pt>
                <c:pt idx="474">
                  <c:v>4.75</c:v>
                </c:pt>
                <c:pt idx="475">
                  <c:v>4.75</c:v>
                </c:pt>
                <c:pt idx="476">
                  <c:v>4.75</c:v>
                </c:pt>
                <c:pt idx="477">
                  <c:v>4.75</c:v>
                </c:pt>
                <c:pt idx="478">
                  <c:v>4.75</c:v>
                </c:pt>
                <c:pt idx="479">
                  <c:v>4.75</c:v>
                </c:pt>
                <c:pt idx="480">
                  <c:v>4.75</c:v>
                </c:pt>
                <c:pt idx="481">
                  <c:v>4.75</c:v>
                </c:pt>
                <c:pt idx="482">
                  <c:v>4.75</c:v>
                </c:pt>
                <c:pt idx="483">
                  <c:v>4.75</c:v>
                </c:pt>
                <c:pt idx="484">
                  <c:v>4.75</c:v>
                </c:pt>
                <c:pt idx="485">
                  <c:v>4.75</c:v>
                </c:pt>
                <c:pt idx="486">
                  <c:v>4.75</c:v>
                </c:pt>
                <c:pt idx="487">
                  <c:v>4.75</c:v>
                </c:pt>
                <c:pt idx="488">
                  <c:v>4.75</c:v>
                </c:pt>
                <c:pt idx="489">
                  <c:v>4.75</c:v>
                </c:pt>
                <c:pt idx="490">
                  <c:v>4.75</c:v>
                </c:pt>
                <c:pt idx="491">
                  <c:v>4.75</c:v>
                </c:pt>
                <c:pt idx="492">
                  <c:v>4.75</c:v>
                </c:pt>
                <c:pt idx="493">
                  <c:v>4.75</c:v>
                </c:pt>
                <c:pt idx="494">
                  <c:v>4.75</c:v>
                </c:pt>
                <c:pt idx="495">
                  <c:v>4.75</c:v>
                </c:pt>
                <c:pt idx="496">
                  <c:v>4.75</c:v>
                </c:pt>
                <c:pt idx="497">
                  <c:v>4.75</c:v>
                </c:pt>
                <c:pt idx="498">
                  <c:v>4.75</c:v>
                </c:pt>
                <c:pt idx="499">
                  <c:v>4.75</c:v>
                </c:pt>
                <c:pt idx="500">
                  <c:v>4.75</c:v>
                </c:pt>
                <c:pt idx="501">
                  <c:v>4.75</c:v>
                </c:pt>
                <c:pt idx="502">
                  <c:v>4.75</c:v>
                </c:pt>
                <c:pt idx="503">
                  <c:v>4.75</c:v>
                </c:pt>
                <c:pt idx="504">
                  <c:v>4.75</c:v>
                </c:pt>
                <c:pt idx="505">
                  <c:v>4.75</c:v>
                </c:pt>
                <c:pt idx="506">
                  <c:v>4.75</c:v>
                </c:pt>
                <c:pt idx="507">
                  <c:v>4.75</c:v>
                </c:pt>
                <c:pt idx="508">
                  <c:v>4.75</c:v>
                </c:pt>
                <c:pt idx="509">
                  <c:v>4.75</c:v>
                </c:pt>
                <c:pt idx="510">
                  <c:v>4.75</c:v>
                </c:pt>
                <c:pt idx="511">
                  <c:v>4.75</c:v>
                </c:pt>
                <c:pt idx="512">
                  <c:v>4.75</c:v>
                </c:pt>
                <c:pt idx="513">
                  <c:v>4.75</c:v>
                </c:pt>
                <c:pt idx="514">
                  <c:v>4.75</c:v>
                </c:pt>
                <c:pt idx="515">
                  <c:v>4.75</c:v>
                </c:pt>
                <c:pt idx="516">
                  <c:v>4.75</c:v>
                </c:pt>
                <c:pt idx="517">
                  <c:v>4.75</c:v>
                </c:pt>
                <c:pt idx="518">
                  <c:v>4.75</c:v>
                </c:pt>
                <c:pt idx="519">
                  <c:v>4.75</c:v>
                </c:pt>
                <c:pt idx="520">
                  <c:v>4.75</c:v>
                </c:pt>
                <c:pt idx="521">
                  <c:v>4.75</c:v>
                </c:pt>
                <c:pt idx="522">
                  <c:v>4.75</c:v>
                </c:pt>
                <c:pt idx="523">
                  <c:v>4.75</c:v>
                </c:pt>
                <c:pt idx="524">
                  <c:v>4.75</c:v>
                </c:pt>
                <c:pt idx="525">
                  <c:v>4.75</c:v>
                </c:pt>
                <c:pt idx="526">
                  <c:v>4.75</c:v>
                </c:pt>
                <c:pt idx="527">
                  <c:v>4.75</c:v>
                </c:pt>
                <c:pt idx="528">
                  <c:v>4.75</c:v>
                </c:pt>
                <c:pt idx="529">
                  <c:v>4.75</c:v>
                </c:pt>
                <c:pt idx="530">
                  <c:v>4.75</c:v>
                </c:pt>
                <c:pt idx="531">
                  <c:v>4.75</c:v>
                </c:pt>
                <c:pt idx="532">
                  <c:v>4.75</c:v>
                </c:pt>
                <c:pt idx="533">
                  <c:v>4.75</c:v>
                </c:pt>
                <c:pt idx="534">
                  <c:v>4.75</c:v>
                </c:pt>
                <c:pt idx="535">
                  <c:v>4.75</c:v>
                </c:pt>
                <c:pt idx="536">
                  <c:v>4.75</c:v>
                </c:pt>
                <c:pt idx="537">
                  <c:v>4.75</c:v>
                </c:pt>
                <c:pt idx="538">
                  <c:v>4.75</c:v>
                </c:pt>
                <c:pt idx="539">
                  <c:v>4.75</c:v>
                </c:pt>
                <c:pt idx="540">
                  <c:v>4.75</c:v>
                </c:pt>
                <c:pt idx="541">
                  <c:v>4.75</c:v>
                </c:pt>
                <c:pt idx="542">
                  <c:v>4.75</c:v>
                </c:pt>
                <c:pt idx="543">
                  <c:v>4.75</c:v>
                </c:pt>
                <c:pt idx="544">
                  <c:v>4.75</c:v>
                </c:pt>
                <c:pt idx="545">
                  <c:v>4.75</c:v>
                </c:pt>
                <c:pt idx="546">
                  <c:v>4.75</c:v>
                </c:pt>
                <c:pt idx="547">
                  <c:v>4.75</c:v>
                </c:pt>
                <c:pt idx="548">
                  <c:v>4.75</c:v>
                </c:pt>
                <c:pt idx="549">
                  <c:v>4.75</c:v>
                </c:pt>
                <c:pt idx="550">
                  <c:v>4.75</c:v>
                </c:pt>
                <c:pt idx="551">
                  <c:v>4.75</c:v>
                </c:pt>
                <c:pt idx="552">
                  <c:v>4.75</c:v>
                </c:pt>
                <c:pt idx="553">
                  <c:v>4.75</c:v>
                </c:pt>
                <c:pt idx="554">
                  <c:v>4.75</c:v>
                </c:pt>
                <c:pt idx="555">
                  <c:v>4.75</c:v>
                </c:pt>
                <c:pt idx="556">
                  <c:v>4.75</c:v>
                </c:pt>
                <c:pt idx="557">
                  <c:v>4.75</c:v>
                </c:pt>
                <c:pt idx="558">
                  <c:v>4.75</c:v>
                </c:pt>
                <c:pt idx="559">
                  <c:v>4.75</c:v>
                </c:pt>
                <c:pt idx="560">
                  <c:v>5</c:v>
                </c:pt>
                <c:pt idx="561">
                  <c:v>5</c:v>
                </c:pt>
                <c:pt idx="562">
                  <c:v>5</c:v>
                </c:pt>
                <c:pt idx="563">
                  <c:v>5</c:v>
                </c:pt>
                <c:pt idx="564">
                  <c:v>5</c:v>
                </c:pt>
                <c:pt idx="565">
                  <c:v>5</c:v>
                </c:pt>
                <c:pt idx="566">
                  <c:v>5</c:v>
                </c:pt>
                <c:pt idx="567">
                  <c:v>5</c:v>
                </c:pt>
                <c:pt idx="568">
                  <c:v>5</c:v>
                </c:pt>
                <c:pt idx="569">
                  <c:v>5</c:v>
                </c:pt>
                <c:pt idx="570">
                  <c:v>5</c:v>
                </c:pt>
                <c:pt idx="571">
                  <c:v>5</c:v>
                </c:pt>
                <c:pt idx="572">
                  <c:v>5</c:v>
                </c:pt>
                <c:pt idx="573">
                  <c:v>5</c:v>
                </c:pt>
                <c:pt idx="574">
                  <c:v>5</c:v>
                </c:pt>
                <c:pt idx="575">
                  <c:v>5</c:v>
                </c:pt>
                <c:pt idx="576">
                  <c:v>5</c:v>
                </c:pt>
                <c:pt idx="577">
                  <c:v>5</c:v>
                </c:pt>
                <c:pt idx="578">
                  <c:v>5</c:v>
                </c:pt>
                <c:pt idx="579">
                  <c:v>5</c:v>
                </c:pt>
                <c:pt idx="580">
                  <c:v>5</c:v>
                </c:pt>
                <c:pt idx="581">
                  <c:v>5</c:v>
                </c:pt>
                <c:pt idx="582">
                  <c:v>5</c:v>
                </c:pt>
                <c:pt idx="583">
                  <c:v>5</c:v>
                </c:pt>
                <c:pt idx="584">
                  <c:v>5</c:v>
                </c:pt>
                <c:pt idx="585">
                  <c:v>5</c:v>
                </c:pt>
                <c:pt idx="586">
                  <c:v>5</c:v>
                </c:pt>
                <c:pt idx="587">
                  <c:v>5</c:v>
                </c:pt>
                <c:pt idx="588">
                  <c:v>5</c:v>
                </c:pt>
                <c:pt idx="589">
                  <c:v>5</c:v>
                </c:pt>
                <c:pt idx="590">
                  <c:v>5</c:v>
                </c:pt>
                <c:pt idx="591">
                  <c:v>5</c:v>
                </c:pt>
                <c:pt idx="592">
                  <c:v>5</c:v>
                </c:pt>
                <c:pt idx="593">
                  <c:v>5</c:v>
                </c:pt>
                <c:pt idx="594">
                  <c:v>5</c:v>
                </c:pt>
                <c:pt idx="595">
                  <c:v>5.5</c:v>
                </c:pt>
                <c:pt idx="596">
                  <c:v>5.5</c:v>
                </c:pt>
                <c:pt idx="597">
                  <c:v>5.5</c:v>
                </c:pt>
                <c:pt idx="598">
                  <c:v>5.5</c:v>
                </c:pt>
                <c:pt idx="599">
                  <c:v>5.5</c:v>
                </c:pt>
                <c:pt idx="600">
                  <c:v>5.5</c:v>
                </c:pt>
                <c:pt idx="601">
                  <c:v>5.5</c:v>
                </c:pt>
                <c:pt idx="602">
                  <c:v>5.5</c:v>
                </c:pt>
                <c:pt idx="603">
                  <c:v>5.5</c:v>
                </c:pt>
                <c:pt idx="604">
                  <c:v>5.5</c:v>
                </c:pt>
                <c:pt idx="605">
                  <c:v>5.5</c:v>
                </c:pt>
                <c:pt idx="606">
                  <c:v>5.5</c:v>
                </c:pt>
                <c:pt idx="607">
                  <c:v>5.5</c:v>
                </c:pt>
                <c:pt idx="608">
                  <c:v>5.5</c:v>
                </c:pt>
                <c:pt idx="609">
                  <c:v>5.5</c:v>
                </c:pt>
                <c:pt idx="610">
                  <c:v>5.5</c:v>
                </c:pt>
                <c:pt idx="611">
                  <c:v>5.5</c:v>
                </c:pt>
                <c:pt idx="612">
                  <c:v>5.5</c:v>
                </c:pt>
                <c:pt idx="613">
                  <c:v>5.75</c:v>
                </c:pt>
                <c:pt idx="614">
                  <c:v>5.75</c:v>
                </c:pt>
                <c:pt idx="615">
                  <c:v>5.75</c:v>
                </c:pt>
                <c:pt idx="616">
                  <c:v>5.75</c:v>
                </c:pt>
                <c:pt idx="617">
                  <c:v>5.75</c:v>
                </c:pt>
                <c:pt idx="618">
                  <c:v>5.75</c:v>
                </c:pt>
                <c:pt idx="619">
                  <c:v>5.75</c:v>
                </c:pt>
                <c:pt idx="620">
                  <c:v>5.75</c:v>
                </c:pt>
                <c:pt idx="621">
                  <c:v>5.75</c:v>
                </c:pt>
                <c:pt idx="622">
                  <c:v>5.75</c:v>
                </c:pt>
                <c:pt idx="623">
                  <c:v>5.75</c:v>
                </c:pt>
                <c:pt idx="624">
                  <c:v>5.75</c:v>
                </c:pt>
                <c:pt idx="625">
                  <c:v>5.75</c:v>
                </c:pt>
                <c:pt idx="626">
                  <c:v>5.75</c:v>
                </c:pt>
                <c:pt idx="627">
                  <c:v>5.75</c:v>
                </c:pt>
                <c:pt idx="628">
                  <c:v>5.75</c:v>
                </c:pt>
                <c:pt idx="629">
                  <c:v>5.75</c:v>
                </c:pt>
                <c:pt idx="630">
                  <c:v>5.75</c:v>
                </c:pt>
                <c:pt idx="631">
                  <c:v>5.75</c:v>
                </c:pt>
                <c:pt idx="632">
                  <c:v>5.75</c:v>
                </c:pt>
                <c:pt idx="633">
                  <c:v>5.75</c:v>
                </c:pt>
                <c:pt idx="634">
                  <c:v>5.75</c:v>
                </c:pt>
                <c:pt idx="635">
                  <c:v>5.75</c:v>
                </c:pt>
                <c:pt idx="636">
                  <c:v>5.75</c:v>
                </c:pt>
                <c:pt idx="637">
                  <c:v>5.75</c:v>
                </c:pt>
                <c:pt idx="638">
                  <c:v>5.75</c:v>
                </c:pt>
                <c:pt idx="639">
                  <c:v>5.75</c:v>
                </c:pt>
                <c:pt idx="640">
                  <c:v>5.75</c:v>
                </c:pt>
                <c:pt idx="641">
                  <c:v>5.75</c:v>
                </c:pt>
                <c:pt idx="642">
                  <c:v>5.75</c:v>
                </c:pt>
                <c:pt idx="643">
                  <c:v>5.75</c:v>
                </c:pt>
                <c:pt idx="644">
                  <c:v>5.75</c:v>
                </c:pt>
                <c:pt idx="645">
                  <c:v>5.75</c:v>
                </c:pt>
                <c:pt idx="646">
                  <c:v>5.75</c:v>
                </c:pt>
                <c:pt idx="647">
                  <c:v>5.75</c:v>
                </c:pt>
                <c:pt idx="648">
                  <c:v>5.75</c:v>
                </c:pt>
                <c:pt idx="649">
                  <c:v>5.75</c:v>
                </c:pt>
                <c:pt idx="650">
                  <c:v>5.75</c:v>
                </c:pt>
                <c:pt idx="651">
                  <c:v>5.75</c:v>
                </c:pt>
                <c:pt idx="652">
                  <c:v>5.75</c:v>
                </c:pt>
                <c:pt idx="653">
                  <c:v>5.75</c:v>
                </c:pt>
                <c:pt idx="654">
                  <c:v>5.75</c:v>
                </c:pt>
                <c:pt idx="655">
                  <c:v>5.75</c:v>
                </c:pt>
                <c:pt idx="656">
                  <c:v>5.75</c:v>
                </c:pt>
                <c:pt idx="657">
                  <c:v>5.75</c:v>
                </c:pt>
                <c:pt idx="658">
                  <c:v>5.75</c:v>
                </c:pt>
                <c:pt idx="659">
                  <c:v>5.75</c:v>
                </c:pt>
                <c:pt idx="660">
                  <c:v>5.75</c:v>
                </c:pt>
                <c:pt idx="661">
                  <c:v>5.75</c:v>
                </c:pt>
                <c:pt idx="662">
                  <c:v>5.75</c:v>
                </c:pt>
                <c:pt idx="663">
                  <c:v>5.75</c:v>
                </c:pt>
                <c:pt idx="664">
                  <c:v>5.75</c:v>
                </c:pt>
                <c:pt idx="665">
                  <c:v>5.75</c:v>
                </c:pt>
                <c:pt idx="666">
                  <c:v>5.75</c:v>
                </c:pt>
                <c:pt idx="667">
                  <c:v>5.75</c:v>
                </c:pt>
                <c:pt idx="668">
                  <c:v>5.75</c:v>
                </c:pt>
                <c:pt idx="669">
                  <c:v>5.75</c:v>
                </c:pt>
                <c:pt idx="670">
                  <c:v>5.75</c:v>
                </c:pt>
                <c:pt idx="671">
                  <c:v>5.75</c:v>
                </c:pt>
                <c:pt idx="672">
                  <c:v>5.75</c:v>
                </c:pt>
                <c:pt idx="673">
                  <c:v>5.75</c:v>
                </c:pt>
                <c:pt idx="674">
                  <c:v>5.75</c:v>
                </c:pt>
                <c:pt idx="675">
                  <c:v>5.75</c:v>
                </c:pt>
                <c:pt idx="676">
                  <c:v>5.75</c:v>
                </c:pt>
                <c:pt idx="677">
                  <c:v>5.75</c:v>
                </c:pt>
                <c:pt idx="678">
                  <c:v>5.75</c:v>
                </c:pt>
                <c:pt idx="679">
                  <c:v>5.75</c:v>
                </c:pt>
                <c:pt idx="680">
                  <c:v>5.75</c:v>
                </c:pt>
                <c:pt idx="681">
                  <c:v>5.75</c:v>
                </c:pt>
                <c:pt idx="682">
                  <c:v>5.75</c:v>
                </c:pt>
                <c:pt idx="683">
                  <c:v>5.75</c:v>
                </c:pt>
                <c:pt idx="684">
                  <c:v>5.75</c:v>
                </c:pt>
                <c:pt idx="685">
                  <c:v>5.75</c:v>
                </c:pt>
                <c:pt idx="686">
                  <c:v>5.75</c:v>
                </c:pt>
                <c:pt idx="687">
                  <c:v>5.75</c:v>
                </c:pt>
                <c:pt idx="688">
                  <c:v>5.75</c:v>
                </c:pt>
                <c:pt idx="689">
                  <c:v>5.75</c:v>
                </c:pt>
                <c:pt idx="690">
                  <c:v>5.75</c:v>
                </c:pt>
                <c:pt idx="691">
                  <c:v>5.75</c:v>
                </c:pt>
                <c:pt idx="692">
                  <c:v>5.75</c:v>
                </c:pt>
                <c:pt idx="693">
                  <c:v>5.75</c:v>
                </c:pt>
                <c:pt idx="694">
                  <c:v>5.75</c:v>
                </c:pt>
                <c:pt idx="695">
                  <c:v>5.75</c:v>
                </c:pt>
                <c:pt idx="696">
                  <c:v>5.75</c:v>
                </c:pt>
                <c:pt idx="697">
                  <c:v>5.75</c:v>
                </c:pt>
                <c:pt idx="698">
                  <c:v>5.75</c:v>
                </c:pt>
                <c:pt idx="699">
                  <c:v>5.75</c:v>
                </c:pt>
                <c:pt idx="700">
                  <c:v>5.75</c:v>
                </c:pt>
                <c:pt idx="701">
                  <c:v>5.75</c:v>
                </c:pt>
                <c:pt idx="702">
                  <c:v>5.75</c:v>
                </c:pt>
                <c:pt idx="703">
                  <c:v>5.75</c:v>
                </c:pt>
                <c:pt idx="704">
                  <c:v>5.75</c:v>
                </c:pt>
                <c:pt idx="705">
                  <c:v>5.75</c:v>
                </c:pt>
                <c:pt idx="706">
                  <c:v>5.75</c:v>
                </c:pt>
                <c:pt idx="707">
                  <c:v>5.75</c:v>
                </c:pt>
                <c:pt idx="708">
                  <c:v>5.75</c:v>
                </c:pt>
                <c:pt idx="709">
                  <c:v>5.75</c:v>
                </c:pt>
                <c:pt idx="710">
                  <c:v>5.75</c:v>
                </c:pt>
                <c:pt idx="711">
                  <c:v>5.75</c:v>
                </c:pt>
                <c:pt idx="712">
                  <c:v>5.75</c:v>
                </c:pt>
                <c:pt idx="713">
                  <c:v>5.75</c:v>
                </c:pt>
                <c:pt idx="714">
                  <c:v>5.75</c:v>
                </c:pt>
                <c:pt idx="715">
                  <c:v>5.75</c:v>
                </c:pt>
                <c:pt idx="716">
                  <c:v>5.75</c:v>
                </c:pt>
                <c:pt idx="717">
                  <c:v>5.75</c:v>
                </c:pt>
                <c:pt idx="718">
                  <c:v>5.75</c:v>
                </c:pt>
                <c:pt idx="719">
                  <c:v>5.75</c:v>
                </c:pt>
                <c:pt idx="720">
                  <c:v>5.75</c:v>
                </c:pt>
                <c:pt idx="721">
                  <c:v>5.75</c:v>
                </c:pt>
                <c:pt idx="722">
                  <c:v>6</c:v>
                </c:pt>
                <c:pt idx="723">
                  <c:v>6</c:v>
                </c:pt>
                <c:pt idx="724">
                  <c:v>6</c:v>
                </c:pt>
                <c:pt idx="725">
                  <c:v>6</c:v>
                </c:pt>
                <c:pt idx="726">
                  <c:v>6</c:v>
                </c:pt>
                <c:pt idx="727">
                  <c:v>6</c:v>
                </c:pt>
                <c:pt idx="728">
                  <c:v>6</c:v>
                </c:pt>
                <c:pt idx="729">
                  <c:v>6</c:v>
                </c:pt>
                <c:pt idx="730">
                  <c:v>6</c:v>
                </c:pt>
                <c:pt idx="731">
                  <c:v>6</c:v>
                </c:pt>
                <c:pt idx="732">
                  <c:v>6</c:v>
                </c:pt>
                <c:pt idx="733">
                  <c:v>6</c:v>
                </c:pt>
                <c:pt idx="734">
                  <c:v>6</c:v>
                </c:pt>
                <c:pt idx="735">
                  <c:v>6</c:v>
                </c:pt>
                <c:pt idx="736">
                  <c:v>6</c:v>
                </c:pt>
                <c:pt idx="737">
                  <c:v>6</c:v>
                </c:pt>
                <c:pt idx="738">
                  <c:v>6</c:v>
                </c:pt>
                <c:pt idx="739">
                  <c:v>6</c:v>
                </c:pt>
                <c:pt idx="740">
                  <c:v>6</c:v>
                </c:pt>
                <c:pt idx="741">
                  <c:v>6</c:v>
                </c:pt>
                <c:pt idx="742">
                  <c:v>6</c:v>
                </c:pt>
                <c:pt idx="743">
                  <c:v>6</c:v>
                </c:pt>
                <c:pt idx="744">
                  <c:v>6</c:v>
                </c:pt>
                <c:pt idx="745">
                  <c:v>6</c:v>
                </c:pt>
                <c:pt idx="746">
                  <c:v>6</c:v>
                </c:pt>
                <c:pt idx="747">
                  <c:v>6</c:v>
                </c:pt>
                <c:pt idx="748">
                  <c:v>6</c:v>
                </c:pt>
                <c:pt idx="749">
                  <c:v>6</c:v>
                </c:pt>
                <c:pt idx="750">
                  <c:v>6</c:v>
                </c:pt>
                <c:pt idx="751">
                  <c:v>6</c:v>
                </c:pt>
                <c:pt idx="752">
                  <c:v>6</c:v>
                </c:pt>
                <c:pt idx="753">
                  <c:v>6</c:v>
                </c:pt>
                <c:pt idx="754">
                  <c:v>6</c:v>
                </c:pt>
                <c:pt idx="755">
                  <c:v>6</c:v>
                </c:pt>
                <c:pt idx="756">
                  <c:v>6</c:v>
                </c:pt>
                <c:pt idx="757">
                  <c:v>6</c:v>
                </c:pt>
                <c:pt idx="758">
                  <c:v>6</c:v>
                </c:pt>
                <c:pt idx="759">
                  <c:v>6</c:v>
                </c:pt>
                <c:pt idx="760">
                  <c:v>6</c:v>
                </c:pt>
                <c:pt idx="761">
                  <c:v>6</c:v>
                </c:pt>
                <c:pt idx="762">
                  <c:v>6</c:v>
                </c:pt>
                <c:pt idx="763">
                  <c:v>6</c:v>
                </c:pt>
                <c:pt idx="764">
                  <c:v>6</c:v>
                </c:pt>
                <c:pt idx="765">
                  <c:v>6</c:v>
                </c:pt>
                <c:pt idx="766">
                  <c:v>6</c:v>
                </c:pt>
                <c:pt idx="767">
                  <c:v>6</c:v>
                </c:pt>
                <c:pt idx="768">
                  <c:v>6</c:v>
                </c:pt>
                <c:pt idx="769">
                  <c:v>6</c:v>
                </c:pt>
                <c:pt idx="770">
                  <c:v>6</c:v>
                </c:pt>
                <c:pt idx="771">
                  <c:v>6</c:v>
                </c:pt>
                <c:pt idx="772">
                  <c:v>6</c:v>
                </c:pt>
                <c:pt idx="773">
                  <c:v>6</c:v>
                </c:pt>
                <c:pt idx="774">
                  <c:v>6</c:v>
                </c:pt>
                <c:pt idx="775">
                  <c:v>6</c:v>
                </c:pt>
                <c:pt idx="776">
                  <c:v>6</c:v>
                </c:pt>
                <c:pt idx="777">
                  <c:v>6</c:v>
                </c:pt>
                <c:pt idx="778">
                  <c:v>6</c:v>
                </c:pt>
                <c:pt idx="779">
                  <c:v>6</c:v>
                </c:pt>
                <c:pt idx="780">
                  <c:v>6</c:v>
                </c:pt>
                <c:pt idx="781">
                  <c:v>6</c:v>
                </c:pt>
                <c:pt idx="782">
                  <c:v>6</c:v>
                </c:pt>
                <c:pt idx="783">
                  <c:v>6</c:v>
                </c:pt>
                <c:pt idx="784">
                  <c:v>6</c:v>
                </c:pt>
                <c:pt idx="785">
                  <c:v>6</c:v>
                </c:pt>
                <c:pt idx="786">
                  <c:v>6</c:v>
                </c:pt>
                <c:pt idx="787">
                  <c:v>6</c:v>
                </c:pt>
                <c:pt idx="788">
                  <c:v>6</c:v>
                </c:pt>
                <c:pt idx="789">
                  <c:v>6</c:v>
                </c:pt>
                <c:pt idx="790">
                  <c:v>6</c:v>
                </c:pt>
                <c:pt idx="791">
                  <c:v>6</c:v>
                </c:pt>
                <c:pt idx="792">
                  <c:v>6</c:v>
                </c:pt>
                <c:pt idx="793">
                  <c:v>6</c:v>
                </c:pt>
                <c:pt idx="794">
                  <c:v>6</c:v>
                </c:pt>
                <c:pt idx="795">
                  <c:v>6</c:v>
                </c:pt>
                <c:pt idx="796">
                  <c:v>6</c:v>
                </c:pt>
                <c:pt idx="797">
                  <c:v>6</c:v>
                </c:pt>
                <c:pt idx="798">
                  <c:v>6</c:v>
                </c:pt>
                <c:pt idx="799">
                  <c:v>6</c:v>
                </c:pt>
                <c:pt idx="800">
                  <c:v>6</c:v>
                </c:pt>
                <c:pt idx="801">
                  <c:v>6</c:v>
                </c:pt>
                <c:pt idx="802">
                  <c:v>6</c:v>
                </c:pt>
                <c:pt idx="803">
                  <c:v>6</c:v>
                </c:pt>
                <c:pt idx="804">
                  <c:v>6</c:v>
                </c:pt>
                <c:pt idx="805">
                  <c:v>6</c:v>
                </c:pt>
                <c:pt idx="806">
                  <c:v>6</c:v>
                </c:pt>
                <c:pt idx="807">
                  <c:v>6</c:v>
                </c:pt>
                <c:pt idx="808">
                  <c:v>6</c:v>
                </c:pt>
                <c:pt idx="809">
                  <c:v>6</c:v>
                </c:pt>
                <c:pt idx="810">
                  <c:v>6</c:v>
                </c:pt>
                <c:pt idx="811">
                  <c:v>6</c:v>
                </c:pt>
                <c:pt idx="812">
                  <c:v>6</c:v>
                </c:pt>
                <c:pt idx="813">
                  <c:v>6</c:v>
                </c:pt>
                <c:pt idx="814">
                  <c:v>6</c:v>
                </c:pt>
                <c:pt idx="815">
                  <c:v>6</c:v>
                </c:pt>
                <c:pt idx="816">
                  <c:v>6</c:v>
                </c:pt>
                <c:pt idx="817">
                  <c:v>6</c:v>
                </c:pt>
                <c:pt idx="818">
                  <c:v>6</c:v>
                </c:pt>
                <c:pt idx="819">
                  <c:v>6</c:v>
                </c:pt>
                <c:pt idx="820">
                  <c:v>6</c:v>
                </c:pt>
                <c:pt idx="821">
                  <c:v>6</c:v>
                </c:pt>
                <c:pt idx="822">
                  <c:v>6</c:v>
                </c:pt>
                <c:pt idx="823">
                  <c:v>6</c:v>
                </c:pt>
                <c:pt idx="824">
                  <c:v>6</c:v>
                </c:pt>
                <c:pt idx="825">
                  <c:v>6</c:v>
                </c:pt>
                <c:pt idx="826">
                  <c:v>6</c:v>
                </c:pt>
                <c:pt idx="827">
                  <c:v>6</c:v>
                </c:pt>
                <c:pt idx="828">
                  <c:v>6</c:v>
                </c:pt>
                <c:pt idx="829">
                  <c:v>6</c:v>
                </c:pt>
                <c:pt idx="830">
                  <c:v>6</c:v>
                </c:pt>
                <c:pt idx="831">
                  <c:v>6</c:v>
                </c:pt>
                <c:pt idx="832">
                  <c:v>6</c:v>
                </c:pt>
                <c:pt idx="833">
                  <c:v>6</c:v>
                </c:pt>
                <c:pt idx="834">
                  <c:v>6</c:v>
                </c:pt>
                <c:pt idx="835">
                  <c:v>6</c:v>
                </c:pt>
                <c:pt idx="836">
                  <c:v>6</c:v>
                </c:pt>
                <c:pt idx="837">
                  <c:v>6</c:v>
                </c:pt>
                <c:pt idx="838">
                  <c:v>6</c:v>
                </c:pt>
                <c:pt idx="839">
                  <c:v>6</c:v>
                </c:pt>
                <c:pt idx="840">
                  <c:v>6</c:v>
                </c:pt>
                <c:pt idx="841">
                  <c:v>6</c:v>
                </c:pt>
                <c:pt idx="842">
                  <c:v>6</c:v>
                </c:pt>
                <c:pt idx="843">
                  <c:v>6</c:v>
                </c:pt>
                <c:pt idx="844">
                  <c:v>6</c:v>
                </c:pt>
                <c:pt idx="845">
                  <c:v>6</c:v>
                </c:pt>
                <c:pt idx="846">
                  <c:v>6</c:v>
                </c:pt>
                <c:pt idx="847">
                  <c:v>6</c:v>
                </c:pt>
                <c:pt idx="848">
                  <c:v>6</c:v>
                </c:pt>
                <c:pt idx="849">
                  <c:v>6</c:v>
                </c:pt>
                <c:pt idx="850">
                  <c:v>6</c:v>
                </c:pt>
                <c:pt idx="851">
                  <c:v>6</c:v>
                </c:pt>
                <c:pt idx="852">
                  <c:v>6</c:v>
                </c:pt>
                <c:pt idx="853">
                  <c:v>6</c:v>
                </c:pt>
                <c:pt idx="854">
                  <c:v>6</c:v>
                </c:pt>
                <c:pt idx="855">
                  <c:v>6</c:v>
                </c:pt>
                <c:pt idx="856">
                  <c:v>6</c:v>
                </c:pt>
                <c:pt idx="857">
                  <c:v>6</c:v>
                </c:pt>
                <c:pt idx="858">
                  <c:v>6</c:v>
                </c:pt>
                <c:pt idx="859">
                  <c:v>6</c:v>
                </c:pt>
                <c:pt idx="860">
                  <c:v>6</c:v>
                </c:pt>
                <c:pt idx="861">
                  <c:v>6</c:v>
                </c:pt>
                <c:pt idx="862">
                  <c:v>6</c:v>
                </c:pt>
                <c:pt idx="863">
                  <c:v>6</c:v>
                </c:pt>
                <c:pt idx="864">
                  <c:v>6</c:v>
                </c:pt>
                <c:pt idx="865">
                  <c:v>6</c:v>
                </c:pt>
                <c:pt idx="866">
                  <c:v>6</c:v>
                </c:pt>
                <c:pt idx="867">
                  <c:v>6</c:v>
                </c:pt>
                <c:pt idx="868">
                  <c:v>6</c:v>
                </c:pt>
                <c:pt idx="869">
                  <c:v>6</c:v>
                </c:pt>
                <c:pt idx="870">
                  <c:v>6</c:v>
                </c:pt>
                <c:pt idx="871">
                  <c:v>6</c:v>
                </c:pt>
                <c:pt idx="872">
                  <c:v>6</c:v>
                </c:pt>
                <c:pt idx="873">
                  <c:v>6</c:v>
                </c:pt>
                <c:pt idx="874">
                  <c:v>6</c:v>
                </c:pt>
                <c:pt idx="875">
                  <c:v>6</c:v>
                </c:pt>
                <c:pt idx="876">
                  <c:v>6</c:v>
                </c:pt>
                <c:pt idx="877">
                  <c:v>6</c:v>
                </c:pt>
                <c:pt idx="878">
                  <c:v>6</c:v>
                </c:pt>
                <c:pt idx="879">
                  <c:v>6</c:v>
                </c:pt>
                <c:pt idx="880">
                  <c:v>6</c:v>
                </c:pt>
                <c:pt idx="881">
                  <c:v>6</c:v>
                </c:pt>
                <c:pt idx="882">
                  <c:v>6</c:v>
                </c:pt>
                <c:pt idx="883">
                  <c:v>6</c:v>
                </c:pt>
                <c:pt idx="884">
                  <c:v>6</c:v>
                </c:pt>
                <c:pt idx="885">
                  <c:v>6</c:v>
                </c:pt>
                <c:pt idx="886">
                  <c:v>6</c:v>
                </c:pt>
                <c:pt idx="887">
                  <c:v>6</c:v>
                </c:pt>
                <c:pt idx="888">
                  <c:v>6</c:v>
                </c:pt>
                <c:pt idx="889">
                  <c:v>6</c:v>
                </c:pt>
                <c:pt idx="890">
                  <c:v>6</c:v>
                </c:pt>
                <c:pt idx="891">
                  <c:v>6</c:v>
                </c:pt>
                <c:pt idx="892">
                  <c:v>6</c:v>
                </c:pt>
                <c:pt idx="893">
                  <c:v>6</c:v>
                </c:pt>
                <c:pt idx="894">
                  <c:v>6</c:v>
                </c:pt>
                <c:pt idx="895">
                  <c:v>6</c:v>
                </c:pt>
                <c:pt idx="896">
                  <c:v>6</c:v>
                </c:pt>
                <c:pt idx="897">
                  <c:v>6</c:v>
                </c:pt>
                <c:pt idx="898">
                  <c:v>6</c:v>
                </c:pt>
                <c:pt idx="899">
                  <c:v>6</c:v>
                </c:pt>
                <c:pt idx="900">
                  <c:v>6</c:v>
                </c:pt>
                <c:pt idx="901">
                  <c:v>6</c:v>
                </c:pt>
                <c:pt idx="902">
                  <c:v>6</c:v>
                </c:pt>
                <c:pt idx="903">
                  <c:v>6</c:v>
                </c:pt>
                <c:pt idx="904">
                  <c:v>6</c:v>
                </c:pt>
                <c:pt idx="905">
                  <c:v>6</c:v>
                </c:pt>
                <c:pt idx="906">
                  <c:v>6</c:v>
                </c:pt>
                <c:pt idx="907">
                  <c:v>6</c:v>
                </c:pt>
                <c:pt idx="908">
                  <c:v>6</c:v>
                </c:pt>
                <c:pt idx="909">
                  <c:v>6</c:v>
                </c:pt>
                <c:pt idx="910">
                  <c:v>6</c:v>
                </c:pt>
                <c:pt idx="911">
                  <c:v>6</c:v>
                </c:pt>
                <c:pt idx="912">
                  <c:v>6</c:v>
                </c:pt>
                <c:pt idx="913">
                  <c:v>6</c:v>
                </c:pt>
                <c:pt idx="914">
                  <c:v>6</c:v>
                </c:pt>
                <c:pt idx="915">
                  <c:v>6</c:v>
                </c:pt>
                <c:pt idx="916">
                  <c:v>6</c:v>
                </c:pt>
                <c:pt idx="917">
                  <c:v>6</c:v>
                </c:pt>
                <c:pt idx="918">
                  <c:v>6</c:v>
                </c:pt>
                <c:pt idx="919">
                  <c:v>6</c:v>
                </c:pt>
                <c:pt idx="920">
                  <c:v>6</c:v>
                </c:pt>
                <c:pt idx="921">
                  <c:v>6</c:v>
                </c:pt>
                <c:pt idx="922">
                  <c:v>6</c:v>
                </c:pt>
                <c:pt idx="923">
                  <c:v>6</c:v>
                </c:pt>
                <c:pt idx="924">
                  <c:v>6</c:v>
                </c:pt>
                <c:pt idx="925">
                  <c:v>6</c:v>
                </c:pt>
                <c:pt idx="926">
                  <c:v>6</c:v>
                </c:pt>
                <c:pt idx="927">
                  <c:v>6</c:v>
                </c:pt>
                <c:pt idx="928">
                  <c:v>6</c:v>
                </c:pt>
                <c:pt idx="929">
                  <c:v>6</c:v>
                </c:pt>
                <c:pt idx="930">
                  <c:v>6</c:v>
                </c:pt>
                <c:pt idx="931">
                  <c:v>6</c:v>
                </c:pt>
                <c:pt idx="932">
                  <c:v>6</c:v>
                </c:pt>
                <c:pt idx="933">
                  <c:v>6</c:v>
                </c:pt>
                <c:pt idx="934">
                  <c:v>6</c:v>
                </c:pt>
                <c:pt idx="935">
                  <c:v>6</c:v>
                </c:pt>
                <c:pt idx="936">
                  <c:v>6</c:v>
                </c:pt>
                <c:pt idx="937">
                  <c:v>6</c:v>
                </c:pt>
                <c:pt idx="938">
                  <c:v>6</c:v>
                </c:pt>
                <c:pt idx="939">
                  <c:v>6</c:v>
                </c:pt>
                <c:pt idx="940">
                  <c:v>6</c:v>
                </c:pt>
                <c:pt idx="941">
                  <c:v>6</c:v>
                </c:pt>
                <c:pt idx="942">
                  <c:v>6</c:v>
                </c:pt>
                <c:pt idx="943">
                  <c:v>6</c:v>
                </c:pt>
                <c:pt idx="944">
                  <c:v>6</c:v>
                </c:pt>
                <c:pt idx="945">
                  <c:v>6</c:v>
                </c:pt>
                <c:pt idx="946">
                  <c:v>6</c:v>
                </c:pt>
                <c:pt idx="947">
                  <c:v>6</c:v>
                </c:pt>
                <c:pt idx="948">
                  <c:v>6</c:v>
                </c:pt>
                <c:pt idx="949">
                  <c:v>6</c:v>
                </c:pt>
                <c:pt idx="950">
                  <c:v>6</c:v>
                </c:pt>
                <c:pt idx="951">
                  <c:v>6</c:v>
                </c:pt>
                <c:pt idx="952">
                  <c:v>6</c:v>
                </c:pt>
                <c:pt idx="953">
                  <c:v>6</c:v>
                </c:pt>
                <c:pt idx="954">
                  <c:v>6</c:v>
                </c:pt>
                <c:pt idx="955">
                  <c:v>6</c:v>
                </c:pt>
                <c:pt idx="956">
                  <c:v>6</c:v>
                </c:pt>
                <c:pt idx="957">
                  <c:v>6</c:v>
                </c:pt>
                <c:pt idx="958">
                  <c:v>6</c:v>
                </c:pt>
                <c:pt idx="959">
                  <c:v>6</c:v>
                </c:pt>
                <c:pt idx="960">
                  <c:v>6</c:v>
                </c:pt>
                <c:pt idx="961">
                  <c:v>6</c:v>
                </c:pt>
                <c:pt idx="962">
                  <c:v>6</c:v>
                </c:pt>
                <c:pt idx="963">
                  <c:v>6</c:v>
                </c:pt>
                <c:pt idx="964">
                  <c:v>6</c:v>
                </c:pt>
                <c:pt idx="965">
                  <c:v>6</c:v>
                </c:pt>
                <c:pt idx="966">
                  <c:v>6</c:v>
                </c:pt>
                <c:pt idx="967">
                  <c:v>6</c:v>
                </c:pt>
                <c:pt idx="968">
                  <c:v>6</c:v>
                </c:pt>
                <c:pt idx="969">
                  <c:v>6</c:v>
                </c:pt>
                <c:pt idx="970">
                  <c:v>6</c:v>
                </c:pt>
                <c:pt idx="971">
                  <c:v>6</c:v>
                </c:pt>
                <c:pt idx="972">
                  <c:v>6</c:v>
                </c:pt>
                <c:pt idx="973">
                  <c:v>6</c:v>
                </c:pt>
                <c:pt idx="974">
                  <c:v>6</c:v>
                </c:pt>
                <c:pt idx="975">
                  <c:v>6</c:v>
                </c:pt>
                <c:pt idx="976">
                  <c:v>6</c:v>
                </c:pt>
                <c:pt idx="977">
                  <c:v>6</c:v>
                </c:pt>
                <c:pt idx="978">
                  <c:v>6</c:v>
                </c:pt>
                <c:pt idx="979">
                  <c:v>6</c:v>
                </c:pt>
                <c:pt idx="980">
                  <c:v>6</c:v>
                </c:pt>
                <c:pt idx="981">
                  <c:v>6</c:v>
                </c:pt>
                <c:pt idx="982">
                  <c:v>6</c:v>
                </c:pt>
                <c:pt idx="983">
                  <c:v>6</c:v>
                </c:pt>
                <c:pt idx="984">
                  <c:v>6</c:v>
                </c:pt>
                <c:pt idx="985">
                  <c:v>6</c:v>
                </c:pt>
                <c:pt idx="986">
                  <c:v>6</c:v>
                </c:pt>
                <c:pt idx="987">
                  <c:v>6</c:v>
                </c:pt>
                <c:pt idx="988">
                  <c:v>6</c:v>
                </c:pt>
                <c:pt idx="989">
                  <c:v>6</c:v>
                </c:pt>
                <c:pt idx="990">
                  <c:v>6</c:v>
                </c:pt>
                <c:pt idx="991">
                  <c:v>6</c:v>
                </c:pt>
                <c:pt idx="992">
                  <c:v>6</c:v>
                </c:pt>
                <c:pt idx="993">
                  <c:v>6</c:v>
                </c:pt>
                <c:pt idx="994">
                  <c:v>6</c:v>
                </c:pt>
                <c:pt idx="995">
                  <c:v>6</c:v>
                </c:pt>
                <c:pt idx="996">
                  <c:v>6</c:v>
                </c:pt>
                <c:pt idx="997">
                  <c:v>6</c:v>
                </c:pt>
                <c:pt idx="998">
                  <c:v>6</c:v>
                </c:pt>
                <c:pt idx="999">
                  <c:v>6</c:v>
                </c:pt>
                <c:pt idx="1000">
                  <c:v>6</c:v>
                </c:pt>
                <c:pt idx="1001">
                  <c:v>6</c:v>
                </c:pt>
                <c:pt idx="1002">
                  <c:v>6</c:v>
                </c:pt>
                <c:pt idx="1003">
                  <c:v>6</c:v>
                </c:pt>
                <c:pt idx="1004">
                  <c:v>6</c:v>
                </c:pt>
                <c:pt idx="1005">
                  <c:v>6</c:v>
                </c:pt>
                <c:pt idx="1006">
                  <c:v>6</c:v>
                </c:pt>
                <c:pt idx="1007">
                  <c:v>6</c:v>
                </c:pt>
                <c:pt idx="1008">
                  <c:v>6</c:v>
                </c:pt>
                <c:pt idx="1009">
                  <c:v>6</c:v>
                </c:pt>
                <c:pt idx="1010">
                  <c:v>6</c:v>
                </c:pt>
                <c:pt idx="1011">
                  <c:v>6</c:v>
                </c:pt>
                <c:pt idx="1012">
                  <c:v>6</c:v>
                </c:pt>
                <c:pt idx="1013">
                  <c:v>6</c:v>
                </c:pt>
                <c:pt idx="1014">
                  <c:v>6</c:v>
                </c:pt>
                <c:pt idx="1015">
                  <c:v>6</c:v>
                </c:pt>
                <c:pt idx="1016">
                  <c:v>6</c:v>
                </c:pt>
                <c:pt idx="1017">
                  <c:v>6</c:v>
                </c:pt>
                <c:pt idx="1018">
                  <c:v>6</c:v>
                </c:pt>
                <c:pt idx="1019">
                  <c:v>6</c:v>
                </c:pt>
                <c:pt idx="1020">
                  <c:v>6</c:v>
                </c:pt>
                <c:pt idx="1021">
                  <c:v>6</c:v>
                </c:pt>
                <c:pt idx="1022">
                  <c:v>6</c:v>
                </c:pt>
                <c:pt idx="1023">
                  <c:v>6</c:v>
                </c:pt>
                <c:pt idx="1024">
                  <c:v>6</c:v>
                </c:pt>
                <c:pt idx="1025">
                  <c:v>6</c:v>
                </c:pt>
                <c:pt idx="1026">
                  <c:v>6</c:v>
                </c:pt>
                <c:pt idx="1027">
                  <c:v>6</c:v>
                </c:pt>
                <c:pt idx="1028">
                  <c:v>6</c:v>
                </c:pt>
                <c:pt idx="1029">
                  <c:v>6</c:v>
                </c:pt>
                <c:pt idx="1030">
                  <c:v>6</c:v>
                </c:pt>
                <c:pt idx="1031">
                  <c:v>6</c:v>
                </c:pt>
                <c:pt idx="1032">
                  <c:v>6</c:v>
                </c:pt>
                <c:pt idx="1033">
                  <c:v>6</c:v>
                </c:pt>
                <c:pt idx="1034">
                  <c:v>6</c:v>
                </c:pt>
                <c:pt idx="1035">
                  <c:v>6</c:v>
                </c:pt>
                <c:pt idx="1036">
                  <c:v>6</c:v>
                </c:pt>
                <c:pt idx="1037">
                  <c:v>6</c:v>
                </c:pt>
                <c:pt idx="1038">
                  <c:v>6</c:v>
                </c:pt>
                <c:pt idx="1039">
                  <c:v>6</c:v>
                </c:pt>
                <c:pt idx="1040">
                  <c:v>6</c:v>
                </c:pt>
                <c:pt idx="1041">
                  <c:v>6</c:v>
                </c:pt>
                <c:pt idx="1042">
                  <c:v>6</c:v>
                </c:pt>
                <c:pt idx="1043">
                  <c:v>6</c:v>
                </c:pt>
                <c:pt idx="1044">
                  <c:v>6</c:v>
                </c:pt>
                <c:pt idx="1045">
                  <c:v>6</c:v>
                </c:pt>
                <c:pt idx="1046">
                  <c:v>6</c:v>
                </c:pt>
                <c:pt idx="1047">
                  <c:v>6</c:v>
                </c:pt>
                <c:pt idx="1048">
                  <c:v>6</c:v>
                </c:pt>
                <c:pt idx="1049">
                  <c:v>6</c:v>
                </c:pt>
                <c:pt idx="1050">
                  <c:v>6</c:v>
                </c:pt>
                <c:pt idx="1051">
                  <c:v>6</c:v>
                </c:pt>
                <c:pt idx="1052">
                  <c:v>6</c:v>
                </c:pt>
                <c:pt idx="1053">
                  <c:v>6</c:v>
                </c:pt>
                <c:pt idx="1054">
                  <c:v>6</c:v>
                </c:pt>
                <c:pt idx="1055">
                  <c:v>6</c:v>
                </c:pt>
                <c:pt idx="1056">
                  <c:v>6</c:v>
                </c:pt>
                <c:pt idx="1057">
                  <c:v>6</c:v>
                </c:pt>
                <c:pt idx="1058">
                  <c:v>6</c:v>
                </c:pt>
                <c:pt idx="1059">
                  <c:v>6</c:v>
                </c:pt>
                <c:pt idx="1060">
                  <c:v>6</c:v>
                </c:pt>
                <c:pt idx="1061">
                  <c:v>6</c:v>
                </c:pt>
                <c:pt idx="1062">
                  <c:v>6</c:v>
                </c:pt>
                <c:pt idx="1063">
                  <c:v>6</c:v>
                </c:pt>
                <c:pt idx="1064">
                  <c:v>6</c:v>
                </c:pt>
                <c:pt idx="1065">
                  <c:v>6</c:v>
                </c:pt>
                <c:pt idx="1066">
                  <c:v>6</c:v>
                </c:pt>
                <c:pt idx="1067">
                  <c:v>6</c:v>
                </c:pt>
                <c:pt idx="1068">
                  <c:v>6</c:v>
                </c:pt>
                <c:pt idx="1069">
                  <c:v>6</c:v>
                </c:pt>
                <c:pt idx="1070">
                  <c:v>6</c:v>
                </c:pt>
                <c:pt idx="1071">
                  <c:v>6</c:v>
                </c:pt>
                <c:pt idx="1072">
                  <c:v>6</c:v>
                </c:pt>
                <c:pt idx="1073">
                  <c:v>6</c:v>
                </c:pt>
                <c:pt idx="1074">
                  <c:v>6</c:v>
                </c:pt>
                <c:pt idx="1075">
                  <c:v>6</c:v>
                </c:pt>
                <c:pt idx="1076">
                  <c:v>6</c:v>
                </c:pt>
                <c:pt idx="1077">
                  <c:v>6</c:v>
                </c:pt>
                <c:pt idx="1078">
                  <c:v>6</c:v>
                </c:pt>
                <c:pt idx="1079">
                  <c:v>6</c:v>
                </c:pt>
                <c:pt idx="1080">
                  <c:v>6</c:v>
                </c:pt>
                <c:pt idx="1081">
                  <c:v>6</c:v>
                </c:pt>
                <c:pt idx="1082">
                  <c:v>6</c:v>
                </c:pt>
                <c:pt idx="1083">
                  <c:v>6</c:v>
                </c:pt>
                <c:pt idx="1084">
                  <c:v>6</c:v>
                </c:pt>
                <c:pt idx="1085">
                  <c:v>6</c:v>
                </c:pt>
                <c:pt idx="1086">
                  <c:v>6</c:v>
                </c:pt>
                <c:pt idx="1087">
                  <c:v>6</c:v>
                </c:pt>
                <c:pt idx="1088">
                  <c:v>6</c:v>
                </c:pt>
                <c:pt idx="1089">
                  <c:v>6</c:v>
                </c:pt>
                <c:pt idx="1090">
                  <c:v>6</c:v>
                </c:pt>
                <c:pt idx="1091">
                  <c:v>6</c:v>
                </c:pt>
                <c:pt idx="1092">
                  <c:v>6</c:v>
                </c:pt>
                <c:pt idx="1093">
                  <c:v>6</c:v>
                </c:pt>
                <c:pt idx="1094">
                  <c:v>6</c:v>
                </c:pt>
                <c:pt idx="1095">
                  <c:v>6</c:v>
                </c:pt>
                <c:pt idx="1096">
                  <c:v>6</c:v>
                </c:pt>
                <c:pt idx="1097">
                  <c:v>6</c:v>
                </c:pt>
                <c:pt idx="1098">
                  <c:v>6</c:v>
                </c:pt>
                <c:pt idx="1099">
                  <c:v>6</c:v>
                </c:pt>
                <c:pt idx="1100">
                  <c:v>6</c:v>
                </c:pt>
                <c:pt idx="1101">
                  <c:v>6</c:v>
                </c:pt>
                <c:pt idx="1102">
                  <c:v>6</c:v>
                </c:pt>
                <c:pt idx="1103">
                  <c:v>6</c:v>
                </c:pt>
                <c:pt idx="1104">
                  <c:v>6</c:v>
                </c:pt>
                <c:pt idx="1105">
                  <c:v>6</c:v>
                </c:pt>
                <c:pt idx="1106">
                  <c:v>6</c:v>
                </c:pt>
                <c:pt idx="1107">
                  <c:v>6</c:v>
                </c:pt>
                <c:pt idx="1108">
                  <c:v>6</c:v>
                </c:pt>
                <c:pt idx="1109">
                  <c:v>6</c:v>
                </c:pt>
                <c:pt idx="1110">
                  <c:v>6</c:v>
                </c:pt>
                <c:pt idx="1111">
                  <c:v>6</c:v>
                </c:pt>
                <c:pt idx="1112">
                  <c:v>6</c:v>
                </c:pt>
                <c:pt idx="1113">
                  <c:v>6</c:v>
                </c:pt>
                <c:pt idx="1114">
                  <c:v>6</c:v>
                </c:pt>
                <c:pt idx="1115">
                  <c:v>6</c:v>
                </c:pt>
                <c:pt idx="1116">
                  <c:v>6</c:v>
                </c:pt>
                <c:pt idx="1117">
                  <c:v>6</c:v>
                </c:pt>
                <c:pt idx="1118">
                  <c:v>6</c:v>
                </c:pt>
                <c:pt idx="1119">
                  <c:v>6</c:v>
                </c:pt>
                <c:pt idx="1120">
                  <c:v>6</c:v>
                </c:pt>
                <c:pt idx="1121">
                  <c:v>6</c:v>
                </c:pt>
                <c:pt idx="1122">
                  <c:v>6</c:v>
                </c:pt>
                <c:pt idx="1123">
                  <c:v>6</c:v>
                </c:pt>
                <c:pt idx="1124">
                  <c:v>6</c:v>
                </c:pt>
                <c:pt idx="1125">
                  <c:v>6</c:v>
                </c:pt>
                <c:pt idx="1126">
                  <c:v>6</c:v>
                </c:pt>
                <c:pt idx="1127">
                  <c:v>6</c:v>
                </c:pt>
                <c:pt idx="1128">
                  <c:v>6</c:v>
                </c:pt>
                <c:pt idx="1129">
                  <c:v>6</c:v>
                </c:pt>
                <c:pt idx="1130">
                  <c:v>6</c:v>
                </c:pt>
                <c:pt idx="1131">
                  <c:v>6</c:v>
                </c:pt>
                <c:pt idx="1132">
                  <c:v>6</c:v>
                </c:pt>
                <c:pt idx="1133">
                  <c:v>6</c:v>
                </c:pt>
                <c:pt idx="1134">
                  <c:v>6</c:v>
                </c:pt>
                <c:pt idx="1135">
                  <c:v>6</c:v>
                </c:pt>
                <c:pt idx="1136">
                  <c:v>6</c:v>
                </c:pt>
                <c:pt idx="1137">
                  <c:v>6</c:v>
                </c:pt>
                <c:pt idx="1138">
                  <c:v>6</c:v>
                </c:pt>
                <c:pt idx="1139">
                  <c:v>6</c:v>
                </c:pt>
                <c:pt idx="1140">
                  <c:v>6</c:v>
                </c:pt>
                <c:pt idx="1141">
                  <c:v>6</c:v>
                </c:pt>
                <c:pt idx="1142">
                  <c:v>6</c:v>
                </c:pt>
                <c:pt idx="1143">
                  <c:v>6</c:v>
                </c:pt>
                <c:pt idx="1144">
                  <c:v>6</c:v>
                </c:pt>
                <c:pt idx="1145">
                  <c:v>6</c:v>
                </c:pt>
                <c:pt idx="1146">
                  <c:v>6</c:v>
                </c:pt>
                <c:pt idx="1147">
                  <c:v>6</c:v>
                </c:pt>
                <c:pt idx="1148">
                  <c:v>6</c:v>
                </c:pt>
                <c:pt idx="1149">
                  <c:v>6</c:v>
                </c:pt>
                <c:pt idx="1150">
                  <c:v>6</c:v>
                </c:pt>
                <c:pt idx="1151">
                  <c:v>6</c:v>
                </c:pt>
                <c:pt idx="1152">
                  <c:v>6</c:v>
                </c:pt>
                <c:pt idx="1153">
                  <c:v>6</c:v>
                </c:pt>
                <c:pt idx="1154">
                  <c:v>6</c:v>
                </c:pt>
                <c:pt idx="1155">
                  <c:v>6</c:v>
                </c:pt>
                <c:pt idx="1156">
                  <c:v>6</c:v>
                </c:pt>
                <c:pt idx="1157">
                  <c:v>6</c:v>
                </c:pt>
                <c:pt idx="1158">
                  <c:v>6</c:v>
                </c:pt>
                <c:pt idx="1159">
                  <c:v>6</c:v>
                </c:pt>
                <c:pt idx="1160">
                  <c:v>6</c:v>
                </c:pt>
                <c:pt idx="1161">
                  <c:v>6</c:v>
                </c:pt>
                <c:pt idx="1162">
                  <c:v>6</c:v>
                </c:pt>
                <c:pt idx="1163">
                  <c:v>6</c:v>
                </c:pt>
                <c:pt idx="1164">
                  <c:v>6</c:v>
                </c:pt>
                <c:pt idx="1165">
                  <c:v>6</c:v>
                </c:pt>
                <c:pt idx="1166">
                  <c:v>6</c:v>
                </c:pt>
                <c:pt idx="1167">
                  <c:v>6</c:v>
                </c:pt>
                <c:pt idx="1168">
                  <c:v>6</c:v>
                </c:pt>
                <c:pt idx="1169">
                  <c:v>6</c:v>
                </c:pt>
                <c:pt idx="1170">
                  <c:v>6</c:v>
                </c:pt>
                <c:pt idx="1171">
                  <c:v>6</c:v>
                </c:pt>
                <c:pt idx="1172">
                  <c:v>6</c:v>
                </c:pt>
                <c:pt idx="1173">
                  <c:v>6</c:v>
                </c:pt>
                <c:pt idx="1174">
                  <c:v>6</c:v>
                </c:pt>
                <c:pt idx="1175">
                  <c:v>6</c:v>
                </c:pt>
                <c:pt idx="1176">
                  <c:v>6</c:v>
                </c:pt>
                <c:pt idx="1177">
                  <c:v>6</c:v>
                </c:pt>
                <c:pt idx="1178">
                  <c:v>6</c:v>
                </c:pt>
                <c:pt idx="1179">
                  <c:v>6</c:v>
                </c:pt>
                <c:pt idx="1180">
                  <c:v>6</c:v>
                </c:pt>
                <c:pt idx="1181">
                  <c:v>6</c:v>
                </c:pt>
                <c:pt idx="1182">
                  <c:v>6</c:v>
                </c:pt>
                <c:pt idx="1183">
                  <c:v>6</c:v>
                </c:pt>
                <c:pt idx="1184">
                  <c:v>6</c:v>
                </c:pt>
                <c:pt idx="1185">
                  <c:v>6</c:v>
                </c:pt>
                <c:pt idx="1186">
                  <c:v>6</c:v>
                </c:pt>
                <c:pt idx="1187">
                  <c:v>6</c:v>
                </c:pt>
                <c:pt idx="1188">
                  <c:v>6</c:v>
                </c:pt>
                <c:pt idx="1189">
                  <c:v>6</c:v>
                </c:pt>
                <c:pt idx="1190">
                  <c:v>6</c:v>
                </c:pt>
                <c:pt idx="1191">
                  <c:v>6</c:v>
                </c:pt>
                <c:pt idx="1192">
                  <c:v>6</c:v>
                </c:pt>
                <c:pt idx="1193">
                  <c:v>6</c:v>
                </c:pt>
                <c:pt idx="1194">
                  <c:v>6</c:v>
                </c:pt>
                <c:pt idx="1195">
                  <c:v>6</c:v>
                </c:pt>
                <c:pt idx="1196">
                  <c:v>6</c:v>
                </c:pt>
                <c:pt idx="1197">
                  <c:v>6</c:v>
                </c:pt>
                <c:pt idx="1198">
                  <c:v>6</c:v>
                </c:pt>
                <c:pt idx="1199">
                  <c:v>6</c:v>
                </c:pt>
                <c:pt idx="1200">
                  <c:v>6</c:v>
                </c:pt>
                <c:pt idx="1201">
                  <c:v>6</c:v>
                </c:pt>
                <c:pt idx="1202">
                  <c:v>6</c:v>
                </c:pt>
                <c:pt idx="1203">
                  <c:v>6</c:v>
                </c:pt>
                <c:pt idx="1204">
                  <c:v>6</c:v>
                </c:pt>
                <c:pt idx="1205">
                  <c:v>6</c:v>
                </c:pt>
                <c:pt idx="1206">
                  <c:v>6</c:v>
                </c:pt>
                <c:pt idx="1207">
                  <c:v>6</c:v>
                </c:pt>
                <c:pt idx="1208">
                  <c:v>6</c:v>
                </c:pt>
                <c:pt idx="1209">
                  <c:v>6</c:v>
                </c:pt>
                <c:pt idx="1210">
                  <c:v>6</c:v>
                </c:pt>
                <c:pt idx="1211">
                  <c:v>6</c:v>
                </c:pt>
                <c:pt idx="1212">
                  <c:v>5.75</c:v>
                </c:pt>
                <c:pt idx="1213">
                  <c:v>5.75</c:v>
                </c:pt>
                <c:pt idx="1214">
                  <c:v>5.75</c:v>
                </c:pt>
                <c:pt idx="1215">
                  <c:v>5.75</c:v>
                </c:pt>
                <c:pt idx="1216">
                  <c:v>5.75</c:v>
                </c:pt>
                <c:pt idx="1217">
                  <c:v>5.75</c:v>
                </c:pt>
                <c:pt idx="1218">
                  <c:v>5.75</c:v>
                </c:pt>
                <c:pt idx="1219">
                  <c:v>5.75</c:v>
                </c:pt>
                <c:pt idx="1220">
                  <c:v>5.75</c:v>
                </c:pt>
                <c:pt idx="1221">
                  <c:v>5.75</c:v>
                </c:pt>
                <c:pt idx="1222">
                  <c:v>5.75</c:v>
                </c:pt>
                <c:pt idx="1223">
                  <c:v>5.75</c:v>
                </c:pt>
                <c:pt idx="1224">
                  <c:v>5.75</c:v>
                </c:pt>
                <c:pt idx="1225">
                  <c:v>5.75</c:v>
                </c:pt>
                <c:pt idx="1226">
                  <c:v>5.75</c:v>
                </c:pt>
                <c:pt idx="1227">
                  <c:v>5.75</c:v>
                </c:pt>
                <c:pt idx="1228">
                  <c:v>5.75</c:v>
                </c:pt>
                <c:pt idx="1229">
                  <c:v>5.75</c:v>
                </c:pt>
                <c:pt idx="1230">
                  <c:v>5.75</c:v>
                </c:pt>
                <c:pt idx="1231">
                  <c:v>5.75</c:v>
                </c:pt>
                <c:pt idx="1232">
                  <c:v>5.75</c:v>
                </c:pt>
                <c:pt idx="1233">
                  <c:v>5.75</c:v>
                </c:pt>
                <c:pt idx="1234">
                  <c:v>5.75</c:v>
                </c:pt>
                <c:pt idx="1235">
                  <c:v>5.75</c:v>
                </c:pt>
                <c:pt idx="1236">
                  <c:v>5.75</c:v>
                </c:pt>
                <c:pt idx="1237">
                  <c:v>5.25</c:v>
                </c:pt>
                <c:pt idx="1238">
                  <c:v>5.25</c:v>
                </c:pt>
                <c:pt idx="1239">
                  <c:v>5.25</c:v>
                </c:pt>
                <c:pt idx="1240">
                  <c:v>5.25</c:v>
                </c:pt>
                <c:pt idx="1241">
                  <c:v>5.25</c:v>
                </c:pt>
                <c:pt idx="1242">
                  <c:v>5.25</c:v>
                </c:pt>
                <c:pt idx="1243">
                  <c:v>5.25</c:v>
                </c:pt>
                <c:pt idx="1244">
                  <c:v>5.25</c:v>
                </c:pt>
                <c:pt idx="1245">
                  <c:v>5.25</c:v>
                </c:pt>
                <c:pt idx="1246">
                  <c:v>5.25</c:v>
                </c:pt>
                <c:pt idx="1247">
                  <c:v>5.25</c:v>
                </c:pt>
                <c:pt idx="1248">
                  <c:v>5.25</c:v>
                </c:pt>
                <c:pt idx="1249">
                  <c:v>5.25</c:v>
                </c:pt>
                <c:pt idx="1250">
                  <c:v>5.25</c:v>
                </c:pt>
                <c:pt idx="1251">
                  <c:v>5.25</c:v>
                </c:pt>
                <c:pt idx="1252">
                  <c:v>5.25</c:v>
                </c:pt>
                <c:pt idx="1253">
                  <c:v>5.25</c:v>
                </c:pt>
                <c:pt idx="1254">
                  <c:v>5.25</c:v>
                </c:pt>
                <c:pt idx="1255">
                  <c:v>5.25</c:v>
                </c:pt>
                <c:pt idx="1256">
                  <c:v>5.25</c:v>
                </c:pt>
                <c:pt idx="1257">
                  <c:v>5.25</c:v>
                </c:pt>
                <c:pt idx="1258">
                  <c:v>5.25</c:v>
                </c:pt>
                <c:pt idx="1259">
                  <c:v>5.25</c:v>
                </c:pt>
                <c:pt idx="1260">
                  <c:v>5.25</c:v>
                </c:pt>
                <c:pt idx="1261">
                  <c:v>5.25</c:v>
                </c:pt>
                <c:pt idx="1262">
                  <c:v>5.25</c:v>
                </c:pt>
                <c:pt idx="1263">
                  <c:v>5.25</c:v>
                </c:pt>
                <c:pt idx="1264">
                  <c:v>5.25</c:v>
                </c:pt>
                <c:pt idx="1265">
                  <c:v>5.25</c:v>
                </c:pt>
                <c:pt idx="1266">
                  <c:v>5.25</c:v>
                </c:pt>
                <c:pt idx="1267">
                  <c:v>5.25</c:v>
                </c:pt>
                <c:pt idx="1268">
                  <c:v>5.25</c:v>
                </c:pt>
                <c:pt idx="1269">
                  <c:v>5.25</c:v>
                </c:pt>
                <c:pt idx="1270">
                  <c:v>5.25</c:v>
                </c:pt>
                <c:pt idx="1271">
                  <c:v>5.25</c:v>
                </c:pt>
                <c:pt idx="1272">
                  <c:v>5.25</c:v>
                </c:pt>
                <c:pt idx="1273">
                  <c:v>5.25</c:v>
                </c:pt>
                <c:pt idx="1274">
                  <c:v>5.25</c:v>
                </c:pt>
                <c:pt idx="1275">
                  <c:v>5.25</c:v>
                </c:pt>
                <c:pt idx="1276">
                  <c:v>5.25</c:v>
                </c:pt>
                <c:pt idx="1277">
                  <c:v>5.25</c:v>
                </c:pt>
                <c:pt idx="1278">
                  <c:v>5.25</c:v>
                </c:pt>
                <c:pt idx="1279">
                  <c:v>5.25</c:v>
                </c:pt>
                <c:pt idx="1280">
                  <c:v>5.25</c:v>
                </c:pt>
                <c:pt idx="1281">
                  <c:v>5.25</c:v>
                </c:pt>
                <c:pt idx="1282">
                  <c:v>5.25</c:v>
                </c:pt>
                <c:pt idx="1283">
                  <c:v>5.25</c:v>
                </c:pt>
                <c:pt idx="1284">
                  <c:v>5.25</c:v>
                </c:pt>
                <c:pt idx="1285">
                  <c:v>5.25</c:v>
                </c:pt>
                <c:pt idx="1286">
                  <c:v>5.25</c:v>
                </c:pt>
                <c:pt idx="1287">
                  <c:v>5.25</c:v>
                </c:pt>
                <c:pt idx="1288">
                  <c:v>5.25</c:v>
                </c:pt>
                <c:pt idx="1289">
                  <c:v>5.25</c:v>
                </c:pt>
                <c:pt idx="1290">
                  <c:v>5.25</c:v>
                </c:pt>
                <c:pt idx="1291">
                  <c:v>5.25</c:v>
                </c:pt>
                <c:pt idx="1292">
                  <c:v>5.25</c:v>
                </c:pt>
                <c:pt idx="1293">
                  <c:v>5.25</c:v>
                </c:pt>
                <c:pt idx="1294">
                  <c:v>5.25</c:v>
                </c:pt>
                <c:pt idx="1295">
                  <c:v>5.25</c:v>
                </c:pt>
                <c:pt idx="1296">
                  <c:v>5.25</c:v>
                </c:pt>
                <c:pt idx="1297">
                  <c:v>5.25</c:v>
                </c:pt>
                <c:pt idx="1298">
                  <c:v>5.25</c:v>
                </c:pt>
                <c:pt idx="1299">
                  <c:v>5.25</c:v>
                </c:pt>
                <c:pt idx="1300">
                  <c:v>5.25</c:v>
                </c:pt>
                <c:pt idx="1301">
                  <c:v>5.25</c:v>
                </c:pt>
                <c:pt idx="1302">
                  <c:v>5.25</c:v>
                </c:pt>
                <c:pt idx="1303">
                  <c:v>5.25</c:v>
                </c:pt>
                <c:pt idx="1304">
                  <c:v>5.25</c:v>
                </c:pt>
                <c:pt idx="1305">
                  <c:v>5.25</c:v>
                </c:pt>
                <c:pt idx="1306">
                  <c:v>5.25</c:v>
                </c:pt>
                <c:pt idx="1307">
                  <c:v>5.25</c:v>
                </c:pt>
                <c:pt idx="1308">
                  <c:v>5.25</c:v>
                </c:pt>
                <c:pt idx="1309">
                  <c:v>5.25</c:v>
                </c:pt>
                <c:pt idx="1310">
                  <c:v>5.25</c:v>
                </c:pt>
                <c:pt idx="1311">
                  <c:v>5.25</c:v>
                </c:pt>
                <c:pt idx="1312">
                  <c:v>5.25</c:v>
                </c:pt>
                <c:pt idx="1313">
                  <c:v>5.25</c:v>
                </c:pt>
                <c:pt idx="1314">
                  <c:v>5.25</c:v>
                </c:pt>
                <c:pt idx="1315">
                  <c:v>5.25</c:v>
                </c:pt>
                <c:pt idx="1316">
                  <c:v>5.25</c:v>
                </c:pt>
                <c:pt idx="1317">
                  <c:v>5.25</c:v>
                </c:pt>
                <c:pt idx="1318">
                  <c:v>5.25</c:v>
                </c:pt>
                <c:pt idx="1319">
                  <c:v>5.25</c:v>
                </c:pt>
                <c:pt idx="1320">
                  <c:v>5.25</c:v>
                </c:pt>
                <c:pt idx="1321">
                  <c:v>5.25</c:v>
                </c:pt>
                <c:pt idx="1322">
                  <c:v>5.25</c:v>
                </c:pt>
                <c:pt idx="1323">
                  <c:v>5.25</c:v>
                </c:pt>
                <c:pt idx="1324">
                  <c:v>5.25</c:v>
                </c:pt>
                <c:pt idx="1325">
                  <c:v>5.25</c:v>
                </c:pt>
                <c:pt idx="1326">
                  <c:v>5.25</c:v>
                </c:pt>
                <c:pt idx="1327">
                  <c:v>5.25</c:v>
                </c:pt>
                <c:pt idx="1328">
                  <c:v>5.25</c:v>
                </c:pt>
                <c:pt idx="1329">
                  <c:v>5.25</c:v>
                </c:pt>
                <c:pt idx="1330">
                  <c:v>5.25</c:v>
                </c:pt>
                <c:pt idx="1331">
                  <c:v>5.25</c:v>
                </c:pt>
                <c:pt idx="1332">
                  <c:v>5.25</c:v>
                </c:pt>
                <c:pt idx="1333">
                  <c:v>5.25</c:v>
                </c:pt>
                <c:pt idx="1334">
                  <c:v>5.25</c:v>
                </c:pt>
                <c:pt idx="1335">
                  <c:v>5.25</c:v>
                </c:pt>
                <c:pt idx="1336">
                  <c:v>5.25</c:v>
                </c:pt>
                <c:pt idx="1337">
                  <c:v>5.25</c:v>
                </c:pt>
                <c:pt idx="1338">
                  <c:v>5.25</c:v>
                </c:pt>
                <c:pt idx="1339">
                  <c:v>5.25</c:v>
                </c:pt>
                <c:pt idx="1340">
                  <c:v>5.25</c:v>
                </c:pt>
                <c:pt idx="1341">
                  <c:v>5.25</c:v>
                </c:pt>
                <c:pt idx="1342">
                  <c:v>5.25</c:v>
                </c:pt>
                <c:pt idx="1343">
                  <c:v>5.25</c:v>
                </c:pt>
                <c:pt idx="1344">
                  <c:v>5.25</c:v>
                </c:pt>
                <c:pt idx="1345">
                  <c:v>5.25</c:v>
                </c:pt>
                <c:pt idx="1346">
                  <c:v>5.25</c:v>
                </c:pt>
                <c:pt idx="1347">
                  <c:v>5.25</c:v>
                </c:pt>
                <c:pt idx="1348">
                  <c:v>5.25</c:v>
                </c:pt>
                <c:pt idx="1349">
                  <c:v>5.25</c:v>
                </c:pt>
                <c:pt idx="1350">
                  <c:v>5.25</c:v>
                </c:pt>
                <c:pt idx="1351">
                  <c:v>5.25</c:v>
                </c:pt>
                <c:pt idx="1352">
                  <c:v>5.25</c:v>
                </c:pt>
                <c:pt idx="1353">
                  <c:v>5.25</c:v>
                </c:pt>
                <c:pt idx="1354">
                  <c:v>5.25</c:v>
                </c:pt>
                <c:pt idx="1355">
                  <c:v>5.25</c:v>
                </c:pt>
                <c:pt idx="1356">
                  <c:v>5.75</c:v>
                </c:pt>
                <c:pt idx="1357">
                  <c:v>5.75</c:v>
                </c:pt>
                <c:pt idx="1358">
                  <c:v>5.75</c:v>
                </c:pt>
                <c:pt idx="1359">
                  <c:v>5.75</c:v>
                </c:pt>
                <c:pt idx="1360">
                  <c:v>5.75</c:v>
                </c:pt>
                <c:pt idx="1361">
                  <c:v>5.75</c:v>
                </c:pt>
                <c:pt idx="1362">
                  <c:v>5.75</c:v>
                </c:pt>
                <c:pt idx="1363">
                  <c:v>5.75</c:v>
                </c:pt>
                <c:pt idx="1364">
                  <c:v>5.75</c:v>
                </c:pt>
                <c:pt idx="1365">
                  <c:v>5.75</c:v>
                </c:pt>
                <c:pt idx="1366">
                  <c:v>5.75</c:v>
                </c:pt>
                <c:pt idx="1367">
                  <c:v>5.75</c:v>
                </c:pt>
                <c:pt idx="1368">
                  <c:v>5.75</c:v>
                </c:pt>
                <c:pt idx="1369">
                  <c:v>5.75</c:v>
                </c:pt>
                <c:pt idx="1370">
                  <c:v>5.75</c:v>
                </c:pt>
                <c:pt idx="1371">
                  <c:v>5.75</c:v>
                </c:pt>
                <c:pt idx="1372">
                  <c:v>5.75</c:v>
                </c:pt>
                <c:pt idx="1373">
                  <c:v>5.75</c:v>
                </c:pt>
                <c:pt idx="1374">
                  <c:v>5.75</c:v>
                </c:pt>
                <c:pt idx="1375">
                  <c:v>5.75</c:v>
                </c:pt>
                <c:pt idx="1376">
                  <c:v>5.75</c:v>
                </c:pt>
                <c:pt idx="1377">
                  <c:v>5.75</c:v>
                </c:pt>
                <c:pt idx="1378">
                  <c:v>5.75</c:v>
                </c:pt>
                <c:pt idx="1379">
                  <c:v>5.75</c:v>
                </c:pt>
                <c:pt idx="1380">
                  <c:v>5.75</c:v>
                </c:pt>
                <c:pt idx="1381">
                  <c:v>5.75</c:v>
                </c:pt>
                <c:pt idx="1382">
                  <c:v>5.75</c:v>
                </c:pt>
                <c:pt idx="1383">
                  <c:v>5.75</c:v>
                </c:pt>
                <c:pt idx="1384">
                  <c:v>5.75</c:v>
                </c:pt>
                <c:pt idx="1385">
                  <c:v>5.75</c:v>
                </c:pt>
                <c:pt idx="1386">
                  <c:v>5.75</c:v>
                </c:pt>
                <c:pt idx="1387">
                  <c:v>5.75</c:v>
                </c:pt>
                <c:pt idx="1388">
                  <c:v>5.75</c:v>
                </c:pt>
                <c:pt idx="1389">
                  <c:v>5.75</c:v>
                </c:pt>
                <c:pt idx="1390">
                  <c:v>5.75</c:v>
                </c:pt>
                <c:pt idx="1391">
                  <c:v>5.75</c:v>
                </c:pt>
                <c:pt idx="1392">
                  <c:v>5.75</c:v>
                </c:pt>
                <c:pt idx="1393">
                  <c:v>5.75</c:v>
                </c:pt>
                <c:pt idx="1394">
                  <c:v>5.75</c:v>
                </c:pt>
                <c:pt idx="1395">
                  <c:v>5.75</c:v>
                </c:pt>
                <c:pt idx="1396">
                  <c:v>5.75</c:v>
                </c:pt>
                <c:pt idx="1397">
                  <c:v>5.75</c:v>
                </c:pt>
                <c:pt idx="1398">
                  <c:v>5.75</c:v>
                </c:pt>
                <c:pt idx="1399">
                  <c:v>5.75</c:v>
                </c:pt>
                <c:pt idx="1400">
                  <c:v>5.75</c:v>
                </c:pt>
                <c:pt idx="1401">
                  <c:v>5.75</c:v>
                </c:pt>
                <c:pt idx="1402">
                  <c:v>5.75</c:v>
                </c:pt>
                <c:pt idx="1403">
                  <c:v>5.75</c:v>
                </c:pt>
                <c:pt idx="1404">
                  <c:v>6.25</c:v>
                </c:pt>
                <c:pt idx="1405">
                  <c:v>6.25</c:v>
                </c:pt>
                <c:pt idx="1406">
                  <c:v>6.25</c:v>
                </c:pt>
                <c:pt idx="1407">
                  <c:v>6.25</c:v>
                </c:pt>
                <c:pt idx="1408">
                  <c:v>6.25</c:v>
                </c:pt>
                <c:pt idx="1409">
                  <c:v>6.25</c:v>
                </c:pt>
                <c:pt idx="1410">
                  <c:v>6.25</c:v>
                </c:pt>
                <c:pt idx="1411">
                  <c:v>6.25</c:v>
                </c:pt>
                <c:pt idx="1412">
                  <c:v>6.25</c:v>
                </c:pt>
                <c:pt idx="1413">
                  <c:v>6.25</c:v>
                </c:pt>
                <c:pt idx="1414">
                  <c:v>6.25</c:v>
                </c:pt>
                <c:pt idx="1415">
                  <c:v>6.25</c:v>
                </c:pt>
                <c:pt idx="1416">
                  <c:v>6.25</c:v>
                </c:pt>
                <c:pt idx="1417">
                  <c:v>6.25</c:v>
                </c:pt>
                <c:pt idx="1418">
                  <c:v>6.25</c:v>
                </c:pt>
                <c:pt idx="1419">
                  <c:v>6.25</c:v>
                </c:pt>
                <c:pt idx="1420">
                  <c:v>6.25</c:v>
                </c:pt>
                <c:pt idx="1421">
                  <c:v>6.25</c:v>
                </c:pt>
                <c:pt idx="1422">
                  <c:v>6.25</c:v>
                </c:pt>
                <c:pt idx="1423">
                  <c:v>6.25</c:v>
                </c:pt>
                <c:pt idx="1424">
                  <c:v>6.25</c:v>
                </c:pt>
                <c:pt idx="1425">
                  <c:v>6.25</c:v>
                </c:pt>
                <c:pt idx="1426">
                  <c:v>6.25</c:v>
                </c:pt>
                <c:pt idx="1427">
                  <c:v>6.25</c:v>
                </c:pt>
                <c:pt idx="1428">
                  <c:v>6.25</c:v>
                </c:pt>
                <c:pt idx="1429">
                  <c:v>6.25</c:v>
                </c:pt>
                <c:pt idx="1430">
                  <c:v>6.25</c:v>
                </c:pt>
                <c:pt idx="1431">
                  <c:v>6.25</c:v>
                </c:pt>
                <c:pt idx="1432">
                  <c:v>6.25</c:v>
                </c:pt>
                <c:pt idx="1433">
                  <c:v>6.25</c:v>
                </c:pt>
                <c:pt idx="1434">
                  <c:v>6.25</c:v>
                </c:pt>
                <c:pt idx="1435">
                  <c:v>6.25</c:v>
                </c:pt>
                <c:pt idx="1436">
                  <c:v>6.25</c:v>
                </c:pt>
                <c:pt idx="1437">
                  <c:v>6.25</c:v>
                </c:pt>
                <c:pt idx="1438">
                  <c:v>6.25</c:v>
                </c:pt>
                <c:pt idx="1439">
                  <c:v>6.25</c:v>
                </c:pt>
                <c:pt idx="1440">
                  <c:v>6.25</c:v>
                </c:pt>
                <c:pt idx="1441">
                  <c:v>6.25</c:v>
                </c:pt>
                <c:pt idx="1442">
                  <c:v>6.25</c:v>
                </c:pt>
                <c:pt idx="1443">
                  <c:v>6.25</c:v>
                </c:pt>
                <c:pt idx="1444">
                  <c:v>6.25</c:v>
                </c:pt>
                <c:pt idx="1445">
                  <c:v>6.25</c:v>
                </c:pt>
                <c:pt idx="1446">
                  <c:v>6.25</c:v>
                </c:pt>
                <c:pt idx="1447">
                  <c:v>6.25</c:v>
                </c:pt>
                <c:pt idx="1448">
                  <c:v>6.25</c:v>
                </c:pt>
                <c:pt idx="1449">
                  <c:v>6.25</c:v>
                </c:pt>
                <c:pt idx="1450">
                  <c:v>6.25</c:v>
                </c:pt>
                <c:pt idx="1451">
                  <c:v>6.25</c:v>
                </c:pt>
                <c:pt idx="1452">
                  <c:v>6.25</c:v>
                </c:pt>
                <c:pt idx="1453">
                  <c:v>6.25</c:v>
                </c:pt>
                <c:pt idx="1454">
                  <c:v>6.25</c:v>
                </c:pt>
                <c:pt idx="1455">
                  <c:v>6.25</c:v>
                </c:pt>
                <c:pt idx="1456">
                  <c:v>6.25</c:v>
                </c:pt>
                <c:pt idx="1457">
                  <c:v>6.25</c:v>
                </c:pt>
                <c:pt idx="1458">
                  <c:v>6.25</c:v>
                </c:pt>
                <c:pt idx="1459">
                  <c:v>6.5</c:v>
                </c:pt>
                <c:pt idx="1460">
                  <c:v>6.5</c:v>
                </c:pt>
                <c:pt idx="1461">
                  <c:v>6.5</c:v>
                </c:pt>
                <c:pt idx="1462">
                  <c:v>6.5</c:v>
                </c:pt>
                <c:pt idx="1463">
                  <c:v>6.5</c:v>
                </c:pt>
                <c:pt idx="1464">
                  <c:v>6.5</c:v>
                </c:pt>
                <c:pt idx="1465">
                  <c:v>6.5</c:v>
                </c:pt>
                <c:pt idx="1466">
                  <c:v>6.5</c:v>
                </c:pt>
                <c:pt idx="1467">
                  <c:v>6.5</c:v>
                </c:pt>
                <c:pt idx="1468">
                  <c:v>6.5</c:v>
                </c:pt>
                <c:pt idx="1469">
                  <c:v>6.5</c:v>
                </c:pt>
                <c:pt idx="1470">
                  <c:v>6.5</c:v>
                </c:pt>
                <c:pt idx="1471">
                  <c:v>6.5</c:v>
                </c:pt>
                <c:pt idx="1472">
                  <c:v>6.5</c:v>
                </c:pt>
                <c:pt idx="1473">
                  <c:v>6.5</c:v>
                </c:pt>
                <c:pt idx="1474">
                  <c:v>6.5</c:v>
                </c:pt>
                <c:pt idx="1475">
                  <c:v>6.5</c:v>
                </c:pt>
                <c:pt idx="1476">
                  <c:v>6.5</c:v>
                </c:pt>
                <c:pt idx="1477">
                  <c:v>6.5</c:v>
                </c:pt>
                <c:pt idx="1478">
                  <c:v>6.5</c:v>
                </c:pt>
                <c:pt idx="1479">
                  <c:v>6.5</c:v>
                </c:pt>
                <c:pt idx="1480">
                  <c:v>6.5</c:v>
                </c:pt>
                <c:pt idx="1481">
                  <c:v>6.5</c:v>
                </c:pt>
                <c:pt idx="1482">
                  <c:v>6.5</c:v>
                </c:pt>
                <c:pt idx="1483">
                  <c:v>6.5</c:v>
                </c:pt>
                <c:pt idx="1484">
                  <c:v>6.5</c:v>
                </c:pt>
                <c:pt idx="1485">
                  <c:v>6.5</c:v>
                </c:pt>
                <c:pt idx="1486">
                  <c:v>6.5</c:v>
                </c:pt>
                <c:pt idx="1487">
                  <c:v>6.5</c:v>
                </c:pt>
                <c:pt idx="1488">
                  <c:v>6.5</c:v>
                </c:pt>
                <c:pt idx="1489">
                  <c:v>6.5</c:v>
                </c:pt>
                <c:pt idx="1490">
                  <c:v>6.5</c:v>
                </c:pt>
                <c:pt idx="1491">
                  <c:v>6.5</c:v>
                </c:pt>
                <c:pt idx="1492">
                  <c:v>6.5</c:v>
                </c:pt>
                <c:pt idx="1493">
                  <c:v>6.5</c:v>
                </c:pt>
                <c:pt idx="1494">
                  <c:v>6.5</c:v>
                </c:pt>
                <c:pt idx="1495">
                  <c:v>6.5</c:v>
                </c:pt>
                <c:pt idx="1496">
                  <c:v>6.5</c:v>
                </c:pt>
                <c:pt idx="1497">
                  <c:v>6.5</c:v>
                </c:pt>
                <c:pt idx="1498">
                  <c:v>6.5</c:v>
                </c:pt>
                <c:pt idx="1499">
                  <c:v>6.5</c:v>
                </c:pt>
                <c:pt idx="1500">
                  <c:v>6.5</c:v>
                </c:pt>
                <c:pt idx="1501">
                  <c:v>6.5</c:v>
                </c:pt>
                <c:pt idx="1502">
                  <c:v>6.5</c:v>
                </c:pt>
                <c:pt idx="1503">
                  <c:v>6.5</c:v>
                </c:pt>
                <c:pt idx="1504">
                  <c:v>6.5</c:v>
                </c:pt>
                <c:pt idx="1505">
                  <c:v>6.5</c:v>
                </c:pt>
                <c:pt idx="1506">
                  <c:v>6.5</c:v>
                </c:pt>
                <c:pt idx="1507">
                  <c:v>6.5</c:v>
                </c:pt>
                <c:pt idx="1508">
                  <c:v>6.5</c:v>
                </c:pt>
                <c:pt idx="1509">
                  <c:v>6.5</c:v>
                </c:pt>
                <c:pt idx="1510">
                  <c:v>6.5</c:v>
                </c:pt>
                <c:pt idx="1511">
                  <c:v>6.5</c:v>
                </c:pt>
                <c:pt idx="1512">
                  <c:v>6.5</c:v>
                </c:pt>
                <c:pt idx="1513">
                  <c:v>6.5</c:v>
                </c:pt>
                <c:pt idx="1514">
                  <c:v>6.5</c:v>
                </c:pt>
                <c:pt idx="1515">
                  <c:v>6.5</c:v>
                </c:pt>
                <c:pt idx="1516">
                  <c:v>6.5</c:v>
                </c:pt>
                <c:pt idx="1517">
                  <c:v>6.5</c:v>
                </c:pt>
                <c:pt idx="1518">
                  <c:v>6.5</c:v>
                </c:pt>
                <c:pt idx="1519">
                  <c:v>6.5</c:v>
                </c:pt>
                <c:pt idx="1520">
                  <c:v>6.5</c:v>
                </c:pt>
                <c:pt idx="1521">
                  <c:v>6.5</c:v>
                </c:pt>
                <c:pt idx="1522">
                  <c:v>6.5</c:v>
                </c:pt>
                <c:pt idx="1523">
                  <c:v>6.5</c:v>
                </c:pt>
                <c:pt idx="1524">
                  <c:v>6.5</c:v>
                </c:pt>
                <c:pt idx="1525">
                  <c:v>6.5</c:v>
                </c:pt>
                <c:pt idx="1526">
                  <c:v>6.5</c:v>
                </c:pt>
                <c:pt idx="1527">
                  <c:v>6.5</c:v>
                </c:pt>
                <c:pt idx="1528">
                  <c:v>6.5</c:v>
                </c:pt>
                <c:pt idx="1529">
                  <c:v>6.5</c:v>
                </c:pt>
                <c:pt idx="1530">
                  <c:v>6.5</c:v>
                </c:pt>
                <c:pt idx="1531">
                  <c:v>6.5</c:v>
                </c:pt>
                <c:pt idx="1532">
                  <c:v>6.5</c:v>
                </c:pt>
                <c:pt idx="1533">
                  <c:v>6.5</c:v>
                </c:pt>
                <c:pt idx="1534">
                  <c:v>6.5</c:v>
                </c:pt>
                <c:pt idx="1535">
                  <c:v>6.5</c:v>
                </c:pt>
                <c:pt idx="1536">
                  <c:v>6.5</c:v>
                </c:pt>
                <c:pt idx="1537">
                  <c:v>6.5</c:v>
                </c:pt>
                <c:pt idx="1538">
                  <c:v>6.5</c:v>
                </c:pt>
                <c:pt idx="1539">
                  <c:v>6.5</c:v>
                </c:pt>
                <c:pt idx="1540">
                  <c:v>6.5</c:v>
                </c:pt>
                <c:pt idx="1541">
                  <c:v>6.5</c:v>
                </c:pt>
                <c:pt idx="1542">
                  <c:v>6.5</c:v>
                </c:pt>
                <c:pt idx="1543">
                  <c:v>6.5</c:v>
                </c:pt>
                <c:pt idx="1544">
                  <c:v>6.5</c:v>
                </c:pt>
                <c:pt idx="1545">
                  <c:v>6.5</c:v>
                </c:pt>
                <c:pt idx="1546">
                  <c:v>6.5</c:v>
                </c:pt>
                <c:pt idx="1547">
                  <c:v>6.5</c:v>
                </c:pt>
                <c:pt idx="1548">
                  <c:v>6.5</c:v>
                </c:pt>
                <c:pt idx="1549">
                  <c:v>6.5</c:v>
                </c:pt>
                <c:pt idx="1550">
                  <c:v>6.5</c:v>
                </c:pt>
                <c:pt idx="1551">
                  <c:v>6.5</c:v>
                </c:pt>
                <c:pt idx="1552">
                  <c:v>6.5</c:v>
                </c:pt>
                <c:pt idx="1553">
                  <c:v>6.5</c:v>
                </c:pt>
                <c:pt idx="1554">
                  <c:v>6.5</c:v>
                </c:pt>
                <c:pt idx="1555">
                  <c:v>6.5</c:v>
                </c:pt>
                <c:pt idx="1556">
                  <c:v>6.5</c:v>
                </c:pt>
                <c:pt idx="1557">
                  <c:v>6.5</c:v>
                </c:pt>
                <c:pt idx="1558">
                  <c:v>6.5</c:v>
                </c:pt>
                <c:pt idx="1559">
                  <c:v>6.5</c:v>
                </c:pt>
                <c:pt idx="1560">
                  <c:v>6.5</c:v>
                </c:pt>
                <c:pt idx="1561">
                  <c:v>6.5</c:v>
                </c:pt>
                <c:pt idx="1562">
                  <c:v>6.5</c:v>
                </c:pt>
                <c:pt idx="1563">
                  <c:v>6.5</c:v>
                </c:pt>
                <c:pt idx="1564">
                  <c:v>6.5</c:v>
                </c:pt>
                <c:pt idx="1565">
                  <c:v>6.5</c:v>
                </c:pt>
                <c:pt idx="1566">
                  <c:v>6.5</c:v>
                </c:pt>
                <c:pt idx="1567">
                  <c:v>6.5</c:v>
                </c:pt>
                <c:pt idx="1568">
                  <c:v>6.5</c:v>
                </c:pt>
                <c:pt idx="1569">
                  <c:v>6.5</c:v>
                </c:pt>
                <c:pt idx="1570">
                  <c:v>6.5</c:v>
                </c:pt>
                <c:pt idx="1571">
                  <c:v>6.5</c:v>
                </c:pt>
                <c:pt idx="1572">
                  <c:v>6.5</c:v>
                </c:pt>
                <c:pt idx="1573">
                  <c:v>6.5</c:v>
                </c:pt>
                <c:pt idx="1574">
                  <c:v>6.5</c:v>
                </c:pt>
                <c:pt idx="1575">
                  <c:v>6.5</c:v>
                </c:pt>
                <c:pt idx="1576">
                  <c:v>6.5</c:v>
                </c:pt>
                <c:pt idx="1577">
                  <c:v>6.5</c:v>
                </c:pt>
                <c:pt idx="1578">
                  <c:v>6.5</c:v>
                </c:pt>
                <c:pt idx="1579">
                  <c:v>6.5</c:v>
                </c:pt>
                <c:pt idx="1580">
                  <c:v>6.5</c:v>
                </c:pt>
                <c:pt idx="1581">
                  <c:v>6.5</c:v>
                </c:pt>
                <c:pt idx="1582">
                  <c:v>6.5</c:v>
                </c:pt>
                <c:pt idx="1583">
                  <c:v>6.5</c:v>
                </c:pt>
                <c:pt idx="1584">
                  <c:v>6.5</c:v>
                </c:pt>
                <c:pt idx="1585">
                  <c:v>6.5</c:v>
                </c:pt>
                <c:pt idx="1586">
                  <c:v>6.5</c:v>
                </c:pt>
                <c:pt idx="1587">
                  <c:v>6.5</c:v>
                </c:pt>
                <c:pt idx="1588">
                  <c:v>6.5</c:v>
                </c:pt>
                <c:pt idx="1589">
                  <c:v>6.5</c:v>
                </c:pt>
                <c:pt idx="1590">
                  <c:v>6.5</c:v>
                </c:pt>
                <c:pt idx="1591">
                  <c:v>6.5</c:v>
                </c:pt>
                <c:pt idx="1592">
                  <c:v>6.5</c:v>
                </c:pt>
                <c:pt idx="1593">
                  <c:v>6.5</c:v>
                </c:pt>
                <c:pt idx="1594">
                  <c:v>6.5</c:v>
                </c:pt>
                <c:pt idx="1595">
                  <c:v>6.5</c:v>
                </c:pt>
                <c:pt idx="1596">
                  <c:v>6.5</c:v>
                </c:pt>
                <c:pt idx="1597">
                  <c:v>6.5</c:v>
                </c:pt>
                <c:pt idx="1598">
                  <c:v>6.5</c:v>
                </c:pt>
                <c:pt idx="1599">
                  <c:v>6.5</c:v>
                </c:pt>
                <c:pt idx="1600">
                  <c:v>6.5</c:v>
                </c:pt>
                <c:pt idx="1601">
                  <c:v>6.5</c:v>
                </c:pt>
                <c:pt idx="1602">
                  <c:v>6.5</c:v>
                </c:pt>
                <c:pt idx="1603">
                  <c:v>6.5</c:v>
                </c:pt>
                <c:pt idx="1604">
                  <c:v>6.5</c:v>
                </c:pt>
                <c:pt idx="1605">
                  <c:v>6.5</c:v>
                </c:pt>
                <c:pt idx="1606">
                  <c:v>6.5</c:v>
                </c:pt>
                <c:pt idx="1607">
                  <c:v>6.5</c:v>
                </c:pt>
                <c:pt idx="1608">
                  <c:v>6.5</c:v>
                </c:pt>
                <c:pt idx="1609">
                  <c:v>6.5</c:v>
                </c:pt>
                <c:pt idx="1610">
                  <c:v>6.5</c:v>
                </c:pt>
                <c:pt idx="1611">
                  <c:v>6.5</c:v>
                </c:pt>
                <c:pt idx="1612">
                  <c:v>6.5</c:v>
                </c:pt>
                <c:pt idx="1613">
                  <c:v>6.5</c:v>
                </c:pt>
                <c:pt idx="1614">
                  <c:v>6.5</c:v>
                </c:pt>
                <c:pt idx="1615">
                  <c:v>6.5</c:v>
                </c:pt>
                <c:pt idx="1616">
                  <c:v>6.5</c:v>
                </c:pt>
                <c:pt idx="1617">
                  <c:v>6.5</c:v>
                </c:pt>
                <c:pt idx="1618">
                  <c:v>6.5</c:v>
                </c:pt>
                <c:pt idx="1619">
                  <c:v>6.5</c:v>
                </c:pt>
                <c:pt idx="1620">
                  <c:v>6.5</c:v>
                </c:pt>
                <c:pt idx="1621">
                  <c:v>6.5</c:v>
                </c:pt>
                <c:pt idx="1622">
                  <c:v>6.5</c:v>
                </c:pt>
                <c:pt idx="1623">
                  <c:v>6.5</c:v>
                </c:pt>
                <c:pt idx="1624">
                  <c:v>6.5</c:v>
                </c:pt>
                <c:pt idx="1625">
                  <c:v>6.5</c:v>
                </c:pt>
                <c:pt idx="1626">
                  <c:v>6.5</c:v>
                </c:pt>
                <c:pt idx="1627">
                  <c:v>6.5</c:v>
                </c:pt>
                <c:pt idx="1628">
                  <c:v>6.5</c:v>
                </c:pt>
                <c:pt idx="1629">
                  <c:v>6.5</c:v>
                </c:pt>
                <c:pt idx="1630">
                  <c:v>6.5</c:v>
                </c:pt>
                <c:pt idx="1631">
                  <c:v>6.5</c:v>
                </c:pt>
                <c:pt idx="1632">
                  <c:v>6.5</c:v>
                </c:pt>
                <c:pt idx="1633">
                  <c:v>6.5</c:v>
                </c:pt>
                <c:pt idx="1634">
                  <c:v>6.5</c:v>
                </c:pt>
                <c:pt idx="1635">
                  <c:v>6.5</c:v>
                </c:pt>
                <c:pt idx="1636">
                  <c:v>6.5</c:v>
                </c:pt>
                <c:pt idx="1637">
                  <c:v>6.5</c:v>
                </c:pt>
                <c:pt idx="1638">
                  <c:v>6.5</c:v>
                </c:pt>
                <c:pt idx="1639">
                  <c:v>6.5</c:v>
                </c:pt>
                <c:pt idx="1640">
                  <c:v>6.5</c:v>
                </c:pt>
                <c:pt idx="1641">
                  <c:v>6.5</c:v>
                </c:pt>
                <c:pt idx="1642">
                  <c:v>6.5</c:v>
                </c:pt>
                <c:pt idx="1643">
                  <c:v>6.5</c:v>
                </c:pt>
                <c:pt idx="1644">
                  <c:v>6.5</c:v>
                </c:pt>
                <c:pt idx="1645">
                  <c:v>6.5</c:v>
                </c:pt>
                <c:pt idx="1646">
                  <c:v>6.5</c:v>
                </c:pt>
                <c:pt idx="1647">
                  <c:v>6.5</c:v>
                </c:pt>
                <c:pt idx="1648">
                  <c:v>6.5</c:v>
                </c:pt>
                <c:pt idx="1649">
                  <c:v>6.5</c:v>
                </c:pt>
                <c:pt idx="1650">
                  <c:v>6.5</c:v>
                </c:pt>
                <c:pt idx="1651">
                  <c:v>6.5</c:v>
                </c:pt>
                <c:pt idx="1652">
                  <c:v>6.5</c:v>
                </c:pt>
                <c:pt idx="1653">
                  <c:v>6.5</c:v>
                </c:pt>
                <c:pt idx="1654">
                  <c:v>6.5</c:v>
                </c:pt>
                <c:pt idx="1655">
                  <c:v>6.5</c:v>
                </c:pt>
                <c:pt idx="1656">
                  <c:v>6.5</c:v>
                </c:pt>
                <c:pt idx="1657">
                  <c:v>6.5</c:v>
                </c:pt>
                <c:pt idx="1658">
                  <c:v>6.5</c:v>
                </c:pt>
                <c:pt idx="1659">
                  <c:v>6</c:v>
                </c:pt>
                <c:pt idx="1660">
                  <c:v>6</c:v>
                </c:pt>
                <c:pt idx="1661">
                  <c:v>6</c:v>
                </c:pt>
                <c:pt idx="1662">
                  <c:v>6</c:v>
                </c:pt>
                <c:pt idx="1663">
                  <c:v>6</c:v>
                </c:pt>
                <c:pt idx="1664">
                  <c:v>6</c:v>
                </c:pt>
                <c:pt idx="1665">
                  <c:v>6</c:v>
                </c:pt>
                <c:pt idx="1666">
                  <c:v>6</c:v>
                </c:pt>
                <c:pt idx="1667">
                  <c:v>6</c:v>
                </c:pt>
                <c:pt idx="1668">
                  <c:v>6</c:v>
                </c:pt>
                <c:pt idx="1669">
                  <c:v>6</c:v>
                </c:pt>
                <c:pt idx="1670">
                  <c:v>6</c:v>
                </c:pt>
                <c:pt idx="1671">
                  <c:v>6</c:v>
                </c:pt>
                <c:pt idx="1672">
                  <c:v>6</c:v>
                </c:pt>
                <c:pt idx="1673">
                  <c:v>6</c:v>
                </c:pt>
                <c:pt idx="1674">
                  <c:v>6</c:v>
                </c:pt>
                <c:pt idx="1675">
                  <c:v>6</c:v>
                </c:pt>
                <c:pt idx="1676">
                  <c:v>6</c:v>
                </c:pt>
                <c:pt idx="1677">
                  <c:v>6</c:v>
                </c:pt>
                <c:pt idx="1678">
                  <c:v>6</c:v>
                </c:pt>
                <c:pt idx="1679">
                  <c:v>6</c:v>
                </c:pt>
                <c:pt idx="1680">
                  <c:v>6</c:v>
                </c:pt>
                <c:pt idx="1681">
                  <c:v>6</c:v>
                </c:pt>
                <c:pt idx="1682">
                  <c:v>6</c:v>
                </c:pt>
                <c:pt idx="1683">
                  <c:v>6</c:v>
                </c:pt>
                <c:pt idx="1684">
                  <c:v>6</c:v>
                </c:pt>
                <c:pt idx="1685">
                  <c:v>6</c:v>
                </c:pt>
                <c:pt idx="1686">
                  <c:v>6</c:v>
                </c:pt>
                <c:pt idx="1687">
                  <c:v>6</c:v>
                </c:pt>
                <c:pt idx="1688">
                  <c:v>6</c:v>
                </c:pt>
                <c:pt idx="1689">
                  <c:v>6</c:v>
                </c:pt>
                <c:pt idx="1690">
                  <c:v>6</c:v>
                </c:pt>
                <c:pt idx="1691">
                  <c:v>6</c:v>
                </c:pt>
                <c:pt idx="1692">
                  <c:v>6</c:v>
                </c:pt>
                <c:pt idx="1693">
                  <c:v>6</c:v>
                </c:pt>
                <c:pt idx="1694">
                  <c:v>6</c:v>
                </c:pt>
                <c:pt idx="1695">
                  <c:v>6</c:v>
                </c:pt>
                <c:pt idx="1696">
                  <c:v>6</c:v>
                </c:pt>
                <c:pt idx="1697">
                  <c:v>6</c:v>
                </c:pt>
                <c:pt idx="1698">
                  <c:v>6</c:v>
                </c:pt>
                <c:pt idx="1699">
                  <c:v>6</c:v>
                </c:pt>
                <c:pt idx="1700">
                  <c:v>6</c:v>
                </c:pt>
                <c:pt idx="1701">
                  <c:v>6</c:v>
                </c:pt>
                <c:pt idx="1702">
                  <c:v>6</c:v>
                </c:pt>
                <c:pt idx="1703">
                  <c:v>6</c:v>
                </c:pt>
                <c:pt idx="1704">
                  <c:v>6</c:v>
                </c:pt>
                <c:pt idx="1705">
                  <c:v>6</c:v>
                </c:pt>
                <c:pt idx="1706">
                  <c:v>6</c:v>
                </c:pt>
                <c:pt idx="1707">
                  <c:v>6</c:v>
                </c:pt>
                <c:pt idx="1708">
                  <c:v>6</c:v>
                </c:pt>
                <c:pt idx="1709">
                  <c:v>6</c:v>
                </c:pt>
                <c:pt idx="1710">
                  <c:v>6</c:v>
                </c:pt>
                <c:pt idx="1711">
                  <c:v>6</c:v>
                </c:pt>
                <c:pt idx="1712">
                  <c:v>6</c:v>
                </c:pt>
                <c:pt idx="1713">
                  <c:v>6</c:v>
                </c:pt>
                <c:pt idx="1714">
                  <c:v>6</c:v>
                </c:pt>
                <c:pt idx="1715">
                  <c:v>6</c:v>
                </c:pt>
                <c:pt idx="1716">
                  <c:v>6</c:v>
                </c:pt>
                <c:pt idx="1717">
                  <c:v>6</c:v>
                </c:pt>
                <c:pt idx="1718">
                  <c:v>6</c:v>
                </c:pt>
                <c:pt idx="1719">
                  <c:v>6</c:v>
                </c:pt>
                <c:pt idx="1720">
                  <c:v>6</c:v>
                </c:pt>
                <c:pt idx="1721">
                  <c:v>6</c:v>
                </c:pt>
                <c:pt idx="1722">
                  <c:v>6</c:v>
                </c:pt>
                <c:pt idx="1723">
                  <c:v>6</c:v>
                </c:pt>
                <c:pt idx="1724">
                  <c:v>6</c:v>
                </c:pt>
                <c:pt idx="1725">
                  <c:v>6</c:v>
                </c:pt>
                <c:pt idx="1726">
                  <c:v>6</c:v>
                </c:pt>
                <c:pt idx="1727">
                  <c:v>6</c:v>
                </c:pt>
                <c:pt idx="1728">
                  <c:v>6</c:v>
                </c:pt>
                <c:pt idx="1729">
                  <c:v>6</c:v>
                </c:pt>
                <c:pt idx="1730">
                  <c:v>6</c:v>
                </c:pt>
                <c:pt idx="1731">
                  <c:v>6</c:v>
                </c:pt>
                <c:pt idx="1732">
                  <c:v>6</c:v>
                </c:pt>
                <c:pt idx="1733">
                  <c:v>6</c:v>
                </c:pt>
                <c:pt idx="1734">
                  <c:v>6</c:v>
                </c:pt>
                <c:pt idx="1735">
                  <c:v>6</c:v>
                </c:pt>
                <c:pt idx="1736">
                  <c:v>6</c:v>
                </c:pt>
                <c:pt idx="1737">
                  <c:v>6</c:v>
                </c:pt>
                <c:pt idx="1738">
                  <c:v>6</c:v>
                </c:pt>
                <c:pt idx="1739">
                  <c:v>5.75</c:v>
                </c:pt>
                <c:pt idx="1740">
                  <c:v>5.75</c:v>
                </c:pt>
                <c:pt idx="1741">
                  <c:v>5.75</c:v>
                </c:pt>
                <c:pt idx="1742">
                  <c:v>5.75</c:v>
                </c:pt>
                <c:pt idx="1743">
                  <c:v>5.75</c:v>
                </c:pt>
                <c:pt idx="1744">
                  <c:v>5.75</c:v>
                </c:pt>
                <c:pt idx="1745">
                  <c:v>5.75</c:v>
                </c:pt>
                <c:pt idx="1746">
                  <c:v>5.75</c:v>
                </c:pt>
                <c:pt idx="1747">
                  <c:v>5.75</c:v>
                </c:pt>
                <c:pt idx="1748">
                  <c:v>5.75</c:v>
                </c:pt>
                <c:pt idx="1749">
                  <c:v>5.75</c:v>
                </c:pt>
                <c:pt idx="1750">
                  <c:v>5.75</c:v>
                </c:pt>
                <c:pt idx="1751">
                  <c:v>5.75</c:v>
                </c:pt>
                <c:pt idx="1752">
                  <c:v>5.75</c:v>
                </c:pt>
                <c:pt idx="1753">
                  <c:v>5.75</c:v>
                </c:pt>
                <c:pt idx="1754">
                  <c:v>5.75</c:v>
                </c:pt>
                <c:pt idx="1755">
                  <c:v>5.75</c:v>
                </c:pt>
                <c:pt idx="1756">
                  <c:v>5.75</c:v>
                </c:pt>
                <c:pt idx="1757">
                  <c:v>5.75</c:v>
                </c:pt>
                <c:pt idx="1758">
                  <c:v>5.75</c:v>
                </c:pt>
                <c:pt idx="1759">
                  <c:v>5.75</c:v>
                </c:pt>
                <c:pt idx="1760">
                  <c:v>5.75</c:v>
                </c:pt>
                <c:pt idx="1761">
                  <c:v>5.75</c:v>
                </c:pt>
                <c:pt idx="1762">
                  <c:v>5.75</c:v>
                </c:pt>
                <c:pt idx="1763">
                  <c:v>5.75</c:v>
                </c:pt>
                <c:pt idx="1764">
                  <c:v>5.75</c:v>
                </c:pt>
                <c:pt idx="1765">
                  <c:v>5.75</c:v>
                </c:pt>
                <c:pt idx="1766">
                  <c:v>5.75</c:v>
                </c:pt>
                <c:pt idx="1767">
                  <c:v>5.75</c:v>
                </c:pt>
                <c:pt idx="1768">
                  <c:v>5.75</c:v>
                </c:pt>
                <c:pt idx="1769">
                  <c:v>5.75</c:v>
                </c:pt>
                <c:pt idx="1770">
                  <c:v>5.75</c:v>
                </c:pt>
                <c:pt idx="1771">
                  <c:v>5.75</c:v>
                </c:pt>
                <c:pt idx="1772">
                  <c:v>5.75</c:v>
                </c:pt>
                <c:pt idx="1773">
                  <c:v>5.75</c:v>
                </c:pt>
                <c:pt idx="1774">
                  <c:v>5.75</c:v>
                </c:pt>
                <c:pt idx="1775">
                  <c:v>5.75</c:v>
                </c:pt>
                <c:pt idx="1776">
                  <c:v>5.75</c:v>
                </c:pt>
                <c:pt idx="1777">
                  <c:v>5.75</c:v>
                </c:pt>
                <c:pt idx="1778">
                  <c:v>5.75</c:v>
                </c:pt>
                <c:pt idx="1779">
                  <c:v>5.75</c:v>
                </c:pt>
                <c:pt idx="1780">
                  <c:v>5.75</c:v>
                </c:pt>
                <c:pt idx="1781">
                  <c:v>5.75</c:v>
                </c:pt>
                <c:pt idx="1782">
                  <c:v>5.75</c:v>
                </c:pt>
                <c:pt idx="1783">
                  <c:v>5.75</c:v>
                </c:pt>
                <c:pt idx="1784">
                  <c:v>5.75</c:v>
                </c:pt>
                <c:pt idx="1785">
                  <c:v>5.75</c:v>
                </c:pt>
                <c:pt idx="1786">
                  <c:v>5.75</c:v>
                </c:pt>
                <c:pt idx="1787">
                  <c:v>5.75</c:v>
                </c:pt>
                <c:pt idx="1788">
                  <c:v>5.75</c:v>
                </c:pt>
                <c:pt idx="1789">
                  <c:v>5.75</c:v>
                </c:pt>
                <c:pt idx="1790">
                  <c:v>5.75</c:v>
                </c:pt>
                <c:pt idx="1791">
                  <c:v>5.75</c:v>
                </c:pt>
                <c:pt idx="1792">
                  <c:v>5.75</c:v>
                </c:pt>
                <c:pt idx="1793">
                  <c:v>5.75</c:v>
                </c:pt>
                <c:pt idx="1794">
                  <c:v>5.75</c:v>
                </c:pt>
                <c:pt idx="1795">
                  <c:v>5.75</c:v>
                </c:pt>
                <c:pt idx="1796">
                  <c:v>5.75</c:v>
                </c:pt>
                <c:pt idx="1797">
                  <c:v>5.75</c:v>
                </c:pt>
                <c:pt idx="1798">
                  <c:v>5.75</c:v>
                </c:pt>
                <c:pt idx="1799">
                  <c:v>5.75</c:v>
                </c:pt>
                <c:pt idx="1800">
                  <c:v>5.75</c:v>
                </c:pt>
                <c:pt idx="1801">
                  <c:v>5.75</c:v>
                </c:pt>
                <c:pt idx="1802">
                  <c:v>5.75</c:v>
                </c:pt>
                <c:pt idx="1803">
                  <c:v>5.75</c:v>
                </c:pt>
                <c:pt idx="1804">
                  <c:v>5.75</c:v>
                </c:pt>
                <c:pt idx="1805">
                  <c:v>5.75</c:v>
                </c:pt>
                <c:pt idx="1806">
                  <c:v>5.75</c:v>
                </c:pt>
                <c:pt idx="1807">
                  <c:v>5.75</c:v>
                </c:pt>
                <c:pt idx="1808">
                  <c:v>5.75</c:v>
                </c:pt>
                <c:pt idx="1809">
                  <c:v>5.75</c:v>
                </c:pt>
                <c:pt idx="1810">
                  <c:v>5.75</c:v>
                </c:pt>
                <c:pt idx="1811">
                  <c:v>5.75</c:v>
                </c:pt>
                <c:pt idx="1812">
                  <c:v>5.75</c:v>
                </c:pt>
                <c:pt idx="1813">
                  <c:v>5.75</c:v>
                </c:pt>
                <c:pt idx="1814">
                  <c:v>5.75</c:v>
                </c:pt>
                <c:pt idx="1815">
                  <c:v>5.75</c:v>
                </c:pt>
                <c:pt idx="1816">
                  <c:v>5.75</c:v>
                </c:pt>
                <c:pt idx="1817">
                  <c:v>5.75</c:v>
                </c:pt>
                <c:pt idx="1818">
                  <c:v>5.75</c:v>
                </c:pt>
                <c:pt idx="1819">
                  <c:v>5.75</c:v>
                </c:pt>
                <c:pt idx="1820">
                  <c:v>5.75</c:v>
                </c:pt>
                <c:pt idx="1821">
                  <c:v>5.75</c:v>
                </c:pt>
                <c:pt idx="1822">
                  <c:v>5.75</c:v>
                </c:pt>
                <c:pt idx="1823">
                  <c:v>5.75</c:v>
                </c:pt>
                <c:pt idx="1824">
                  <c:v>5.75</c:v>
                </c:pt>
                <c:pt idx="1825">
                  <c:v>5.75</c:v>
                </c:pt>
                <c:pt idx="1826">
                  <c:v>5.75</c:v>
                </c:pt>
                <c:pt idx="1827">
                  <c:v>5.75</c:v>
                </c:pt>
                <c:pt idx="1828">
                  <c:v>5.75</c:v>
                </c:pt>
                <c:pt idx="1829">
                  <c:v>5.75</c:v>
                </c:pt>
                <c:pt idx="1830">
                  <c:v>5.75</c:v>
                </c:pt>
                <c:pt idx="1831">
                  <c:v>5.75</c:v>
                </c:pt>
                <c:pt idx="1832">
                  <c:v>5.75</c:v>
                </c:pt>
                <c:pt idx="1833">
                  <c:v>5.75</c:v>
                </c:pt>
                <c:pt idx="1834">
                  <c:v>5.75</c:v>
                </c:pt>
                <c:pt idx="1835">
                  <c:v>5.75</c:v>
                </c:pt>
                <c:pt idx="1836">
                  <c:v>5.75</c:v>
                </c:pt>
                <c:pt idx="1837">
                  <c:v>5.75</c:v>
                </c:pt>
                <c:pt idx="1838">
                  <c:v>5.75</c:v>
                </c:pt>
                <c:pt idx="1839">
                  <c:v>5.75</c:v>
                </c:pt>
                <c:pt idx="1840">
                  <c:v>5.75</c:v>
                </c:pt>
                <c:pt idx="1841">
                  <c:v>5.75</c:v>
                </c:pt>
                <c:pt idx="1842">
                  <c:v>5.75</c:v>
                </c:pt>
                <c:pt idx="1843">
                  <c:v>5.5</c:v>
                </c:pt>
                <c:pt idx="1844">
                  <c:v>5.5</c:v>
                </c:pt>
                <c:pt idx="1845">
                  <c:v>5.5</c:v>
                </c:pt>
                <c:pt idx="1846">
                  <c:v>5.5</c:v>
                </c:pt>
                <c:pt idx="1847">
                  <c:v>5.5</c:v>
                </c:pt>
                <c:pt idx="1848">
                  <c:v>5.5</c:v>
                </c:pt>
                <c:pt idx="1849">
                  <c:v>5.5</c:v>
                </c:pt>
                <c:pt idx="1850">
                  <c:v>5.5</c:v>
                </c:pt>
                <c:pt idx="1851">
                  <c:v>5.5</c:v>
                </c:pt>
                <c:pt idx="1852">
                  <c:v>5.5</c:v>
                </c:pt>
                <c:pt idx="1853">
                  <c:v>5.5</c:v>
                </c:pt>
                <c:pt idx="1854">
                  <c:v>5.5</c:v>
                </c:pt>
                <c:pt idx="1855">
                  <c:v>5.5</c:v>
                </c:pt>
                <c:pt idx="1856">
                  <c:v>5.5</c:v>
                </c:pt>
                <c:pt idx="1857">
                  <c:v>5.5</c:v>
                </c:pt>
                <c:pt idx="1858">
                  <c:v>5.5</c:v>
                </c:pt>
                <c:pt idx="1859">
                  <c:v>5.5</c:v>
                </c:pt>
                <c:pt idx="1860">
                  <c:v>5.5</c:v>
                </c:pt>
                <c:pt idx="1861">
                  <c:v>5.5</c:v>
                </c:pt>
                <c:pt idx="1862">
                  <c:v>5.25</c:v>
                </c:pt>
                <c:pt idx="1863">
                  <c:v>5.25</c:v>
                </c:pt>
                <c:pt idx="1864">
                  <c:v>5.25</c:v>
                </c:pt>
                <c:pt idx="1865">
                  <c:v>5.25</c:v>
                </c:pt>
                <c:pt idx="1866">
                  <c:v>5.25</c:v>
                </c:pt>
                <c:pt idx="1867">
                  <c:v>5.25</c:v>
                </c:pt>
                <c:pt idx="1868">
                  <c:v>5.25</c:v>
                </c:pt>
                <c:pt idx="1869">
                  <c:v>5.25</c:v>
                </c:pt>
                <c:pt idx="1870">
                  <c:v>5.25</c:v>
                </c:pt>
                <c:pt idx="1871">
                  <c:v>5.25</c:v>
                </c:pt>
                <c:pt idx="1872">
                  <c:v>5.25</c:v>
                </c:pt>
                <c:pt idx="1873">
                  <c:v>5.25</c:v>
                </c:pt>
                <c:pt idx="1874">
                  <c:v>5.25</c:v>
                </c:pt>
                <c:pt idx="1875">
                  <c:v>5.25</c:v>
                </c:pt>
                <c:pt idx="1876">
                  <c:v>5.25</c:v>
                </c:pt>
                <c:pt idx="1877">
                  <c:v>5.25</c:v>
                </c:pt>
                <c:pt idx="1878">
                  <c:v>5.25</c:v>
                </c:pt>
                <c:pt idx="1879">
                  <c:v>5.25</c:v>
                </c:pt>
                <c:pt idx="1880">
                  <c:v>5.25</c:v>
                </c:pt>
                <c:pt idx="1881">
                  <c:v>5.25</c:v>
                </c:pt>
                <c:pt idx="1882">
                  <c:v>5.25</c:v>
                </c:pt>
                <c:pt idx="1883">
                  <c:v>5.25</c:v>
                </c:pt>
                <c:pt idx="1884">
                  <c:v>5.25</c:v>
                </c:pt>
                <c:pt idx="1885">
                  <c:v>5.25</c:v>
                </c:pt>
                <c:pt idx="1886">
                  <c:v>5.25</c:v>
                </c:pt>
                <c:pt idx="1887">
                  <c:v>5.25</c:v>
                </c:pt>
                <c:pt idx="1888">
                  <c:v>5.25</c:v>
                </c:pt>
                <c:pt idx="1889">
                  <c:v>5.25</c:v>
                </c:pt>
                <c:pt idx="1890">
                  <c:v>5.25</c:v>
                </c:pt>
                <c:pt idx="1891">
                  <c:v>5.25</c:v>
                </c:pt>
                <c:pt idx="1892">
                  <c:v>5.25</c:v>
                </c:pt>
                <c:pt idx="1893">
                  <c:v>5.25</c:v>
                </c:pt>
                <c:pt idx="1894">
                  <c:v>5.25</c:v>
                </c:pt>
                <c:pt idx="1895">
                  <c:v>5.25</c:v>
                </c:pt>
                <c:pt idx="1896">
                  <c:v>5.25</c:v>
                </c:pt>
                <c:pt idx="1897">
                  <c:v>5.25</c:v>
                </c:pt>
                <c:pt idx="1898">
                  <c:v>5.25</c:v>
                </c:pt>
                <c:pt idx="1899">
                  <c:v>5.25</c:v>
                </c:pt>
                <c:pt idx="1900">
                  <c:v>5.25</c:v>
                </c:pt>
                <c:pt idx="1901">
                  <c:v>5.25</c:v>
                </c:pt>
                <c:pt idx="1902">
                  <c:v>5.25</c:v>
                </c:pt>
                <c:pt idx="1903">
                  <c:v>5.25</c:v>
                </c:pt>
                <c:pt idx="1904">
                  <c:v>5.25</c:v>
                </c:pt>
                <c:pt idx="1905">
                  <c:v>5.25</c:v>
                </c:pt>
                <c:pt idx="1906">
                  <c:v>5.25</c:v>
                </c:pt>
                <c:pt idx="1907">
                  <c:v>5.25</c:v>
                </c:pt>
                <c:pt idx="1908">
                  <c:v>5.25</c:v>
                </c:pt>
                <c:pt idx="1909">
                  <c:v>5.25</c:v>
                </c:pt>
                <c:pt idx="1910">
                  <c:v>5.25</c:v>
                </c:pt>
                <c:pt idx="1911">
                  <c:v>5.25</c:v>
                </c:pt>
                <c:pt idx="1912">
                  <c:v>5.25</c:v>
                </c:pt>
                <c:pt idx="1913">
                  <c:v>5.25</c:v>
                </c:pt>
                <c:pt idx="1914">
                  <c:v>5.25</c:v>
                </c:pt>
                <c:pt idx="1915">
                  <c:v>5.25</c:v>
                </c:pt>
                <c:pt idx="1916">
                  <c:v>5.25</c:v>
                </c:pt>
                <c:pt idx="1917">
                  <c:v>5.25</c:v>
                </c:pt>
                <c:pt idx="1918">
                  <c:v>5.25</c:v>
                </c:pt>
                <c:pt idx="1919">
                  <c:v>5.25</c:v>
                </c:pt>
                <c:pt idx="1920">
                  <c:v>5.25</c:v>
                </c:pt>
                <c:pt idx="1921">
                  <c:v>5.25</c:v>
                </c:pt>
                <c:pt idx="1922">
                  <c:v>5.25</c:v>
                </c:pt>
                <c:pt idx="1923">
                  <c:v>5.25</c:v>
                </c:pt>
                <c:pt idx="1924">
                  <c:v>5.25</c:v>
                </c:pt>
                <c:pt idx="1925">
                  <c:v>5.25</c:v>
                </c:pt>
                <c:pt idx="1926">
                  <c:v>5.25</c:v>
                </c:pt>
                <c:pt idx="1927">
                  <c:v>5.25</c:v>
                </c:pt>
                <c:pt idx="1928">
                  <c:v>5.25</c:v>
                </c:pt>
                <c:pt idx="1929">
                  <c:v>5.25</c:v>
                </c:pt>
                <c:pt idx="1930">
                  <c:v>5.25</c:v>
                </c:pt>
                <c:pt idx="1931">
                  <c:v>5.25</c:v>
                </c:pt>
                <c:pt idx="1932">
                  <c:v>5.25</c:v>
                </c:pt>
                <c:pt idx="1933">
                  <c:v>5.25</c:v>
                </c:pt>
                <c:pt idx="1934">
                  <c:v>5.25</c:v>
                </c:pt>
                <c:pt idx="1935">
                  <c:v>5.25</c:v>
                </c:pt>
                <c:pt idx="1936">
                  <c:v>5.25</c:v>
                </c:pt>
                <c:pt idx="1937">
                  <c:v>5.25</c:v>
                </c:pt>
                <c:pt idx="1938">
                  <c:v>5.25</c:v>
                </c:pt>
                <c:pt idx="1939">
                  <c:v>5.25</c:v>
                </c:pt>
                <c:pt idx="1940">
                  <c:v>5.25</c:v>
                </c:pt>
                <c:pt idx="1941">
                  <c:v>5</c:v>
                </c:pt>
                <c:pt idx="1942">
                  <c:v>5</c:v>
                </c:pt>
                <c:pt idx="1943">
                  <c:v>5</c:v>
                </c:pt>
                <c:pt idx="1944">
                  <c:v>5</c:v>
                </c:pt>
                <c:pt idx="1945">
                  <c:v>5</c:v>
                </c:pt>
                <c:pt idx="1946">
                  <c:v>5</c:v>
                </c:pt>
                <c:pt idx="1947">
                  <c:v>5</c:v>
                </c:pt>
                <c:pt idx="1948">
                  <c:v>5</c:v>
                </c:pt>
                <c:pt idx="1949">
                  <c:v>5</c:v>
                </c:pt>
                <c:pt idx="1950">
                  <c:v>5</c:v>
                </c:pt>
                <c:pt idx="1951">
                  <c:v>5</c:v>
                </c:pt>
                <c:pt idx="1952">
                  <c:v>5</c:v>
                </c:pt>
                <c:pt idx="1953">
                  <c:v>5</c:v>
                </c:pt>
                <c:pt idx="1954">
                  <c:v>5</c:v>
                </c:pt>
                <c:pt idx="1955">
                  <c:v>5</c:v>
                </c:pt>
                <c:pt idx="1956">
                  <c:v>5</c:v>
                </c:pt>
                <c:pt idx="1957">
                  <c:v>5</c:v>
                </c:pt>
                <c:pt idx="1958">
                  <c:v>5</c:v>
                </c:pt>
                <c:pt idx="1959">
                  <c:v>5</c:v>
                </c:pt>
                <c:pt idx="1960">
                  <c:v>5</c:v>
                </c:pt>
                <c:pt idx="1961">
                  <c:v>5</c:v>
                </c:pt>
                <c:pt idx="1962">
                  <c:v>5</c:v>
                </c:pt>
                <c:pt idx="1963">
                  <c:v>5</c:v>
                </c:pt>
                <c:pt idx="1964">
                  <c:v>5</c:v>
                </c:pt>
                <c:pt idx="1965">
                  <c:v>5</c:v>
                </c:pt>
                <c:pt idx="1966">
                  <c:v>5</c:v>
                </c:pt>
                <c:pt idx="1967">
                  <c:v>5</c:v>
                </c:pt>
                <c:pt idx="1968">
                  <c:v>5</c:v>
                </c:pt>
                <c:pt idx="1969">
                  <c:v>5</c:v>
                </c:pt>
                <c:pt idx="1970">
                  <c:v>5</c:v>
                </c:pt>
                <c:pt idx="1971">
                  <c:v>5</c:v>
                </c:pt>
                <c:pt idx="1972">
                  <c:v>5</c:v>
                </c:pt>
                <c:pt idx="1973">
                  <c:v>5</c:v>
                </c:pt>
                <c:pt idx="1974">
                  <c:v>5</c:v>
                </c:pt>
                <c:pt idx="1975">
                  <c:v>5</c:v>
                </c:pt>
                <c:pt idx="1976">
                  <c:v>5</c:v>
                </c:pt>
                <c:pt idx="1977">
                  <c:v>5</c:v>
                </c:pt>
                <c:pt idx="1978">
                  <c:v>5</c:v>
                </c:pt>
                <c:pt idx="1979">
                  <c:v>5</c:v>
                </c:pt>
                <c:pt idx="1980">
                  <c:v>5</c:v>
                </c:pt>
                <c:pt idx="1981">
                  <c:v>5</c:v>
                </c:pt>
                <c:pt idx="1982">
                  <c:v>5</c:v>
                </c:pt>
                <c:pt idx="1983">
                  <c:v>5</c:v>
                </c:pt>
                <c:pt idx="1984">
                  <c:v>5</c:v>
                </c:pt>
                <c:pt idx="1985">
                  <c:v>5</c:v>
                </c:pt>
                <c:pt idx="1986">
                  <c:v>5</c:v>
                </c:pt>
                <c:pt idx="1987">
                  <c:v>5</c:v>
                </c:pt>
                <c:pt idx="1988">
                  <c:v>5</c:v>
                </c:pt>
                <c:pt idx="1989">
                  <c:v>5</c:v>
                </c:pt>
                <c:pt idx="1990">
                  <c:v>5</c:v>
                </c:pt>
                <c:pt idx="1991">
                  <c:v>5</c:v>
                </c:pt>
                <c:pt idx="1992">
                  <c:v>5</c:v>
                </c:pt>
                <c:pt idx="1993">
                  <c:v>5</c:v>
                </c:pt>
                <c:pt idx="1994">
                  <c:v>5</c:v>
                </c:pt>
                <c:pt idx="1995">
                  <c:v>5</c:v>
                </c:pt>
                <c:pt idx="1996">
                  <c:v>5</c:v>
                </c:pt>
                <c:pt idx="1997">
                  <c:v>5</c:v>
                </c:pt>
                <c:pt idx="1998">
                  <c:v>5</c:v>
                </c:pt>
                <c:pt idx="1999">
                  <c:v>5</c:v>
                </c:pt>
                <c:pt idx="2000">
                  <c:v>5</c:v>
                </c:pt>
                <c:pt idx="2001">
                  <c:v>5</c:v>
                </c:pt>
                <c:pt idx="2002">
                  <c:v>5</c:v>
                </c:pt>
                <c:pt idx="2003">
                  <c:v>5</c:v>
                </c:pt>
                <c:pt idx="2004">
                  <c:v>5</c:v>
                </c:pt>
                <c:pt idx="2005">
                  <c:v>5</c:v>
                </c:pt>
                <c:pt idx="2006">
                  <c:v>5</c:v>
                </c:pt>
                <c:pt idx="2007">
                  <c:v>5</c:v>
                </c:pt>
                <c:pt idx="2008">
                  <c:v>5</c:v>
                </c:pt>
                <c:pt idx="2009">
                  <c:v>5</c:v>
                </c:pt>
                <c:pt idx="2010">
                  <c:v>5</c:v>
                </c:pt>
                <c:pt idx="2011">
                  <c:v>5</c:v>
                </c:pt>
                <c:pt idx="2012">
                  <c:v>5</c:v>
                </c:pt>
                <c:pt idx="2013">
                  <c:v>5</c:v>
                </c:pt>
                <c:pt idx="2014">
                  <c:v>5</c:v>
                </c:pt>
                <c:pt idx="2015">
                  <c:v>5</c:v>
                </c:pt>
                <c:pt idx="2016">
                  <c:v>5</c:v>
                </c:pt>
                <c:pt idx="2017">
                  <c:v>5</c:v>
                </c:pt>
                <c:pt idx="2018">
                  <c:v>5</c:v>
                </c:pt>
                <c:pt idx="2019">
                  <c:v>5</c:v>
                </c:pt>
                <c:pt idx="2020">
                  <c:v>5</c:v>
                </c:pt>
                <c:pt idx="2021">
                  <c:v>5</c:v>
                </c:pt>
                <c:pt idx="2022">
                  <c:v>5</c:v>
                </c:pt>
                <c:pt idx="2023">
                  <c:v>5</c:v>
                </c:pt>
                <c:pt idx="2024">
                  <c:v>5</c:v>
                </c:pt>
                <c:pt idx="2025">
                  <c:v>5</c:v>
                </c:pt>
                <c:pt idx="2026">
                  <c:v>5</c:v>
                </c:pt>
                <c:pt idx="2027">
                  <c:v>5</c:v>
                </c:pt>
                <c:pt idx="2028">
                  <c:v>5</c:v>
                </c:pt>
                <c:pt idx="2029">
                  <c:v>5</c:v>
                </c:pt>
                <c:pt idx="2030">
                  <c:v>5</c:v>
                </c:pt>
                <c:pt idx="2031">
                  <c:v>5</c:v>
                </c:pt>
                <c:pt idx="2032">
                  <c:v>5</c:v>
                </c:pt>
                <c:pt idx="2033">
                  <c:v>5</c:v>
                </c:pt>
                <c:pt idx="2034">
                  <c:v>5</c:v>
                </c:pt>
                <c:pt idx="2035">
                  <c:v>5</c:v>
                </c:pt>
                <c:pt idx="2036">
                  <c:v>5</c:v>
                </c:pt>
                <c:pt idx="2037">
                  <c:v>5</c:v>
                </c:pt>
                <c:pt idx="2038">
                  <c:v>5</c:v>
                </c:pt>
                <c:pt idx="2039">
                  <c:v>5</c:v>
                </c:pt>
                <c:pt idx="2040">
                  <c:v>5</c:v>
                </c:pt>
                <c:pt idx="2041">
                  <c:v>5</c:v>
                </c:pt>
                <c:pt idx="2042">
                  <c:v>5</c:v>
                </c:pt>
                <c:pt idx="2043">
                  <c:v>5</c:v>
                </c:pt>
                <c:pt idx="2044">
                  <c:v>5</c:v>
                </c:pt>
                <c:pt idx="2045">
                  <c:v>5</c:v>
                </c:pt>
                <c:pt idx="2046">
                  <c:v>5</c:v>
                </c:pt>
                <c:pt idx="2047">
                  <c:v>5</c:v>
                </c:pt>
                <c:pt idx="2048">
                  <c:v>5</c:v>
                </c:pt>
                <c:pt idx="2049">
                  <c:v>5</c:v>
                </c:pt>
                <c:pt idx="2050">
                  <c:v>5</c:v>
                </c:pt>
                <c:pt idx="2051">
                  <c:v>5</c:v>
                </c:pt>
                <c:pt idx="2052">
                  <c:v>5</c:v>
                </c:pt>
                <c:pt idx="2053">
                  <c:v>5</c:v>
                </c:pt>
                <c:pt idx="2054">
                  <c:v>5</c:v>
                </c:pt>
                <c:pt idx="2055">
                  <c:v>5</c:v>
                </c:pt>
                <c:pt idx="2056">
                  <c:v>5</c:v>
                </c:pt>
                <c:pt idx="2057">
                  <c:v>5</c:v>
                </c:pt>
                <c:pt idx="2058">
                  <c:v>5</c:v>
                </c:pt>
                <c:pt idx="2059">
                  <c:v>5</c:v>
                </c:pt>
                <c:pt idx="2060">
                  <c:v>5</c:v>
                </c:pt>
                <c:pt idx="2061">
                  <c:v>5</c:v>
                </c:pt>
                <c:pt idx="2062">
                  <c:v>5</c:v>
                </c:pt>
                <c:pt idx="2063">
                  <c:v>5</c:v>
                </c:pt>
                <c:pt idx="2064">
                  <c:v>5</c:v>
                </c:pt>
                <c:pt idx="2065">
                  <c:v>5</c:v>
                </c:pt>
                <c:pt idx="2066">
                  <c:v>5</c:v>
                </c:pt>
                <c:pt idx="2067">
                  <c:v>5</c:v>
                </c:pt>
                <c:pt idx="2068">
                  <c:v>5</c:v>
                </c:pt>
                <c:pt idx="2069">
                  <c:v>5</c:v>
                </c:pt>
                <c:pt idx="2070">
                  <c:v>5</c:v>
                </c:pt>
                <c:pt idx="2071">
                  <c:v>5</c:v>
                </c:pt>
                <c:pt idx="2072">
                  <c:v>5</c:v>
                </c:pt>
                <c:pt idx="2073">
                  <c:v>5</c:v>
                </c:pt>
                <c:pt idx="2074">
                  <c:v>5</c:v>
                </c:pt>
                <c:pt idx="2075">
                  <c:v>5</c:v>
                </c:pt>
                <c:pt idx="2076">
                  <c:v>5</c:v>
                </c:pt>
                <c:pt idx="2077">
                  <c:v>5</c:v>
                </c:pt>
                <c:pt idx="2078">
                  <c:v>5</c:v>
                </c:pt>
                <c:pt idx="2079">
                  <c:v>5</c:v>
                </c:pt>
                <c:pt idx="2080">
                  <c:v>5</c:v>
                </c:pt>
                <c:pt idx="2081">
                  <c:v>5</c:v>
                </c:pt>
                <c:pt idx="2082">
                  <c:v>5</c:v>
                </c:pt>
                <c:pt idx="2083">
                  <c:v>5</c:v>
                </c:pt>
                <c:pt idx="2084">
                  <c:v>5</c:v>
                </c:pt>
                <c:pt idx="2085">
                  <c:v>5</c:v>
                </c:pt>
                <c:pt idx="2086">
                  <c:v>5</c:v>
                </c:pt>
                <c:pt idx="2087">
                  <c:v>5</c:v>
                </c:pt>
                <c:pt idx="2088">
                  <c:v>5</c:v>
                </c:pt>
                <c:pt idx="2089">
                  <c:v>5</c:v>
                </c:pt>
                <c:pt idx="2090">
                  <c:v>5</c:v>
                </c:pt>
                <c:pt idx="2091">
                  <c:v>5</c:v>
                </c:pt>
                <c:pt idx="2092">
                  <c:v>5</c:v>
                </c:pt>
                <c:pt idx="2093">
                  <c:v>5</c:v>
                </c:pt>
                <c:pt idx="2094">
                  <c:v>5</c:v>
                </c:pt>
                <c:pt idx="2095">
                  <c:v>5</c:v>
                </c:pt>
                <c:pt idx="2096">
                  <c:v>5</c:v>
                </c:pt>
                <c:pt idx="2097">
                  <c:v>5</c:v>
                </c:pt>
                <c:pt idx="2098">
                  <c:v>5</c:v>
                </c:pt>
                <c:pt idx="2099">
                  <c:v>5</c:v>
                </c:pt>
                <c:pt idx="2100">
                  <c:v>5</c:v>
                </c:pt>
                <c:pt idx="2101">
                  <c:v>5</c:v>
                </c:pt>
                <c:pt idx="2102">
                  <c:v>5</c:v>
                </c:pt>
                <c:pt idx="2103">
                  <c:v>5</c:v>
                </c:pt>
                <c:pt idx="2104">
                  <c:v>5</c:v>
                </c:pt>
                <c:pt idx="2105">
                  <c:v>5</c:v>
                </c:pt>
                <c:pt idx="2106">
                  <c:v>5</c:v>
                </c:pt>
                <c:pt idx="2107">
                  <c:v>5</c:v>
                </c:pt>
                <c:pt idx="2108">
                  <c:v>5</c:v>
                </c:pt>
                <c:pt idx="2109">
                  <c:v>5</c:v>
                </c:pt>
                <c:pt idx="2110">
                  <c:v>5</c:v>
                </c:pt>
                <c:pt idx="2111">
                  <c:v>5</c:v>
                </c:pt>
                <c:pt idx="2112">
                  <c:v>5</c:v>
                </c:pt>
                <c:pt idx="2113">
                  <c:v>5</c:v>
                </c:pt>
                <c:pt idx="2114">
                  <c:v>5</c:v>
                </c:pt>
                <c:pt idx="2115">
                  <c:v>5</c:v>
                </c:pt>
                <c:pt idx="2116">
                  <c:v>5</c:v>
                </c:pt>
                <c:pt idx="2117">
                  <c:v>5</c:v>
                </c:pt>
                <c:pt idx="2118">
                  <c:v>5</c:v>
                </c:pt>
                <c:pt idx="2119">
                  <c:v>5</c:v>
                </c:pt>
                <c:pt idx="2120">
                  <c:v>5</c:v>
                </c:pt>
                <c:pt idx="2121">
                  <c:v>5</c:v>
                </c:pt>
                <c:pt idx="2122">
                  <c:v>5</c:v>
                </c:pt>
                <c:pt idx="2123">
                  <c:v>5</c:v>
                </c:pt>
                <c:pt idx="2124">
                  <c:v>5</c:v>
                </c:pt>
                <c:pt idx="2125">
                  <c:v>5</c:v>
                </c:pt>
                <c:pt idx="2126">
                  <c:v>5</c:v>
                </c:pt>
                <c:pt idx="2127">
                  <c:v>5</c:v>
                </c:pt>
                <c:pt idx="2128">
                  <c:v>5</c:v>
                </c:pt>
                <c:pt idx="2129">
                  <c:v>5</c:v>
                </c:pt>
                <c:pt idx="2130">
                  <c:v>5</c:v>
                </c:pt>
                <c:pt idx="2131">
                  <c:v>5</c:v>
                </c:pt>
                <c:pt idx="2132">
                  <c:v>5</c:v>
                </c:pt>
                <c:pt idx="2133">
                  <c:v>5</c:v>
                </c:pt>
                <c:pt idx="2134">
                  <c:v>5</c:v>
                </c:pt>
                <c:pt idx="2135">
                  <c:v>5</c:v>
                </c:pt>
                <c:pt idx="2136">
                  <c:v>5</c:v>
                </c:pt>
                <c:pt idx="2137">
                  <c:v>5</c:v>
                </c:pt>
                <c:pt idx="2138">
                  <c:v>5</c:v>
                </c:pt>
                <c:pt idx="2139">
                  <c:v>5</c:v>
                </c:pt>
                <c:pt idx="2140">
                  <c:v>5</c:v>
                </c:pt>
                <c:pt idx="2141">
                  <c:v>5</c:v>
                </c:pt>
                <c:pt idx="2142">
                  <c:v>5</c:v>
                </c:pt>
                <c:pt idx="2143">
                  <c:v>5</c:v>
                </c:pt>
                <c:pt idx="2144">
                  <c:v>5</c:v>
                </c:pt>
                <c:pt idx="2145">
                  <c:v>5</c:v>
                </c:pt>
                <c:pt idx="2146">
                  <c:v>5</c:v>
                </c:pt>
                <c:pt idx="2147">
                  <c:v>5</c:v>
                </c:pt>
                <c:pt idx="2148">
                  <c:v>5</c:v>
                </c:pt>
                <c:pt idx="2149">
                  <c:v>5</c:v>
                </c:pt>
                <c:pt idx="2150">
                  <c:v>5</c:v>
                </c:pt>
                <c:pt idx="2151">
                  <c:v>5</c:v>
                </c:pt>
                <c:pt idx="2152">
                  <c:v>5</c:v>
                </c:pt>
                <c:pt idx="2153">
                  <c:v>5</c:v>
                </c:pt>
                <c:pt idx="2154">
                  <c:v>5</c:v>
                </c:pt>
                <c:pt idx="2155">
                  <c:v>5</c:v>
                </c:pt>
                <c:pt idx="2156">
                  <c:v>5</c:v>
                </c:pt>
                <c:pt idx="2157">
                  <c:v>5</c:v>
                </c:pt>
                <c:pt idx="2158">
                  <c:v>5</c:v>
                </c:pt>
                <c:pt idx="2159">
                  <c:v>5</c:v>
                </c:pt>
                <c:pt idx="2160">
                  <c:v>5</c:v>
                </c:pt>
                <c:pt idx="2161">
                  <c:v>5</c:v>
                </c:pt>
                <c:pt idx="2162">
                  <c:v>5</c:v>
                </c:pt>
                <c:pt idx="2163">
                  <c:v>5</c:v>
                </c:pt>
                <c:pt idx="2164">
                  <c:v>5</c:v>
                </c:pt>
                <c:pt idx="2165">
                  <c:v>5</c:v>
                </c:pt>
                <c:pt idx="2166">
                  <c:v>5</c:v>
                </c:pt>
                <c:pt idx="2167">
                  <c:v>5</c:v>
                </c:pt>
                <c:pt idx="2168">
                  <c:v>5</c:v>
                </c:pt>
                <c:pt idx="2169">
                  <c:v>5</c:v>
                </c:pt>
                <c:pt idx="2170">
                  <c:v>5</c:v>
                </c:pt>
                <c:pt idx="2171">
                  <c:v>5</c:v>
                </c:pt>
                <c:pt idx="2172">
                  <c:v>5</c:v>
                </c:pt>
                <c:pt idx="2173">
                  <c:v>5</c:v>
                </c:pt>
                <c:pt idx="2174">
                  <c:v>5</c:v>
                </c:pt>
                <c:pt idx="2175">
                  <c:v>5</c:v>
                </c:pt>
                <c:pt idx="2176">
                  <c:v>5</c:v>
                </c:pt>
                <c:pt idx="2177">
                  <c:v>5</c:v>
                </c:pt>
                <c:pt idx="2178">
                  <c:v>5</c:v>
                </c:pt>
                <c:pt idx="2179">
                  <c:v>5</c:v>
                </c:pt>
                <c:pt idx="2180">
                  <c:v>5</c:v>
                </c:pt>
                <c:pt idx="2181">
                  <c:v>5</c:v>
                </c:pt>
                <c:pt idx="2182">
                  <c:v>5</c:v>
                </c:pt>
                <c:pt idx="2183">
                  <c:v>5</c:v>
                </c:pt>
                <c:pt idx="2184">
                  <c:v>5</c:v>
                </c:pt>
                <c:pt idx="2185">
                  <c:v>5</c:v>
                </c:pt>
                <c:pt idx="2186">
                  <c:v>5</c:v>
                </c:pt>
                <c:pt idx="2187">
                  <c:v>5</c:v>
                </c:pt>
                <c:pt idx="2188">
                  <c:v>5</c:v>
                </c:pt>
                <c:pt idx="2189">
                  <c:v>5</c:v>
                </c:pt>
                <c:pt idx="2190">
                  <c:v>5</c:v>
                </c:pt>
                <c:pt idx="2191">
                  <c:v>5</c:v>
                </c:pt>
                <c:pt idx="2192">
                  <c:v>5</c:v>
                </c:pt>
                <c:pt idx="2193">
                  <c:v>5</c:v>
                </c:pt>
                <c:pt idx="2194">
                  <c:v>5</c:v>
                </c:pt>
                <c:pt idx="2195">
                  <c:v>5</c:v>
                </c:pt>
                <c:pt idx="2196">
                  <c:v>5</c:v>
                </c:pt>
                <c:pt idx="2197">
                  <c:v>5</c:v>
                </c:pt>
                <c:pt idx="2198">
                  <c:v>5</c:v>
                </c:pt>
                <c:pt idx="2199">
                  <c:v>5</c:v>
                </c:pt>
                <c:pt idx="2200">
                  <c:v>5</c:v>
                </c:pt>
                <c:pt idx="2201">
                  <c:v>5</c:v>
                </c:pt>
                <c:pt idx="2202">
                  <c:v>5</c:v>
                </c:pt>
                <c:pt idx="2203">
                  <c:v>5</c:v>
                </c:pt>
                <c:pt idx="2204">
                  <c:v>5</c:v>
                </c:pt>
                <c:pt idx="2205">
                  <c:v>5</c:v>
                </c:pt>
                <c:pt idx="2206">
                  <c:v>5</c:v>
                </c:pt>
                <c:pt idx="2207">
                  <c:v>5</c:v>
                </c:pt>
                <c:pt idx="2208">
                  <c:v>5</c:v>
                </c:pt>
                <c:pt idx="2209">
                  <c:v>5</c:v>
                </c:pt>
                <c:pt idx="2210">
                  <c:v>5</c:v>
                </c:pt>
                <c:pt idx="2211">
                  <c:v>5</c:v>
                </c:pt>
                <c:pt idx="2212">
                  <c:v>5</c:v>
                </c:pt>
                <c:pt idx="2213">
                  <c:v>5</c:v>
                </c:pt>
                <c:pt idx="2214">
                  <c:v>5</c:v>
                </c:pt>
                <c:pt idx="2215">
                  <c:v>5</c:v>
                </c:pt>
                <c:pt idx="2216">
                  <c:v>5.25</c:v>
                </c:pt>
                <c:pt idx="2217">
                  <c:v>5.25</c:v>
                </c:pt>
                <c:pt idx="2218">
                  <c:v>5.25</c:v>
                </c:pt>
                <c:pt idx="2219">
                  <c:v>5.25</c:v>
                </c:pt>
                <c:pt idx="2220">
                  <c:v>5.25</c:v>
                </c:pt>
                <c:pt idx="2221">
                  <c:v>5.25</c:v>
                </c:pt>
                <c:pt idx="2222">
                  <c:v>5.25</c:v>
                </c:pt>
                <c:pt idx="2223">
                  <c:v>5.25</c:v>
                </c:pt>
                <c:pt idx="2224">
                  <c:v>5.25</c:v>
                </c:pt>
                <c:pt idx="2225">
                  <c:v>5.25</c:v>
                </c:pt>
                <c:pt idx="2226">
                  <c:v>5.25</c:v>
                </c:pt>
                <c:pt idx="2227">
                  <c:v>5.25</c:v>
                </c:pt>
                <c:pt idx="2228">
                  <c:v>5.25</c:v>
                </c:pt>
                <c:pt idx="2229">
                  <c:v>5.25</c:v>
                </c:pt>
                <c:pt idx="2230">
                  <c:v>5.25</c:v>
                </c:pt>
                <c:pt idx="2231">
                  <c:v>5.25</c:v>
                </c:pt>
                <c:pt idx="2232">
                  <c:v>5.25</c:v>
                </c:pt>
                <c:pt idx="2233">
                  <c:v>5.25</c:v>
                </c:pt>
                <c:pt idx="2234">
                  <c:v>5.25</c:v>
                </c:pt>
                <c:pt idx="2235">
                  <c:v>5.25</c:v>
                </c:pt>
                <c:pt idx="2236">
                  <c:v>5.25</c:v>
                </c:pt>
                <c:pt idx="2237">
                  <c:v>5.25</c:v>
                </c:pt>
                <c:pt idx="2238">
                  <c:v>5.25</c:v>
                </c:pt>
                <c:pt idx="2239">
                  <c:v>5.25</c:v>
                </c:pt>
                <c:pt idx="2240">
                  <c:v>5.25</c:v>
                </c:pt>
                <c:pt idx="2241">
                  <c:v>5.25</c:v>
                </c:pt>
                <c:pt idx="2242">
                  <c:v>5.25</c:v>
                </c:pt>
                <c:pt idx="2243">
                  <c:v>5.25</c:v>
                </c:pt>
                <c:pt idx="2244">
                  <c:v>5.25</c:v>
                </c:pt>
                <c:pt idx="2245">
                  <c:v>5.25</c:v>
                </c:pt>
                <c:pt idx="2246">
                  <c:v>5.25</c:v>
                </c:pt>
                <c:pt idx="2247">
                  <c:v>5.25</c:v>
                </c:pt>
                <c:pt idx="2248">
                  <c:v>5.25</c:v>
                </c:pt>
                <c:pt idx="2249">
                  <c:v>5.25</c:v>
                </c:pt>
                <c:pt idx="2250">
                  <c:v>5.25</c:v>
                </c:pt>
                <c:pt idx="2251">
                  <c:v>5.25</c:v>
                </c:pt>
                <c:pt idx="2252">
                  <c:v>5.25</c:v>
                </c:pt>
                <c:pt idx="2253">
                  <c:v>5.25</c:v>
                </c:pt>
                <c:pt idx="2254">
                  <c:v>5.25</c:v>
                </c:pt>
                <c:pt idx="2255">
                  <c:v>5.25</c:v>
                </c:pt>
                <c:pt idx="2256">
                  <c:v>5.25</c:v>
                </c:pt>
                <c:pt idx="2257">
                  <c:v>5.25</c:v>
                </c:pt>
                <c:pt idx="2258">
                  <c:v>5.25</c:v>
                </c:pt>
                <c:pt idx="2259">
                  <c:v>5.25</c:v>
                </c:pt>
                <c:pt idx="2260">
                  <c:v>5.25</c:v>
                </c:pt>
                <c:pt idx="2261">
                  <c:v>5.25</c:v>
                </c:pt>
                <c:pt idx="2262">
                  <c:v>5.25</c:v>
                </c:pt>
                <c:pt idx="2263">
                  <c:v>5.25</c:v>
                </c:pt>
                <c:pt idx="2264">
                  <c:v>5.25</c:v>
                </c:pt>
                <c:pt idx="2265">
                  <c:v>5.25</c:v>
                </c:pt>
                <c:pt idx="2266">
                  <c:v>5.25</c:v>
                </c:pt>
                <c:pt idx="2267">
                  <c:v>5.25</c:v>
                </c:pt>
                <c:pt idx="2268">
                  <c:v>5.25</c:v>
                </c:pt>
                <c:pt idx="2269">
                  <c:v>5.25</c:v>
                </c:pt>
                <c:pt idx="2270">
                  <c:v>5.25</c:v>
                </c:pt>
                <c:pt idx="2271">
                  <c:v>5.25</c:v>
                </c:pt>
                <c:pt idx="2272">
                  <c:v>5.25</c:v>
                </c:pt>
                <c:pt idx="2273">
                  <c:v>5.25</c:v>
                </c:pt>
                <c:pt idx="2274">
                  <c:v>5.25</c:v>
                </c:pt>
                <c:pt idx="2275">
                  <c:v>5.25</c:v>
                </c:pt>
                <c:pt idx="2276">
                  <c:v>5.25</c:v>
                </c:pt>
                <c:pt idx="2277">
                  <c:v>5.25</c:v>
                </c:pt>
                <c:pt idx="2278">
                  <c:v>5.25</c:v>
                </c:pt>
                <c:pt idx="2279">
                  <c:v>5.25</c:v>
                </c:pt>
                <c:pt idx="2280">
                  <c:v>5.25</c:v>
                </c:pt>
                <c:pt idx="2281">
                  <c:v>5.25</c:v>
                </c:pt>
                <c:pt idx="2282">
                  <c:v>5.25</c:v>
                </c:pt>
                <c:pt idx="2283">
                  <c:v>5.25</c:v>
                </c:pt>
                <c:pt idx="2284">
                  <c:v>5.25</c:v>
                </c:pt>
                <c:pt idx="2285">
                  <c:v>5.25</c:v>
                </c:pt>
                <c:pt idx="2286">
                  <c:v>5.25</c:v>
                </c:pt>
                <c:pt idx="2287">
                  <c:v>5.25</c:v>
                </c:pt>
                <c:pt idx="2288">
                  <c:v>5.25</c:v>
                </c:pt>
                <c:pt idx="2289">
                  <c:v>5.25</c:v>
                </c:pt>
                <c:pt idx="2290">
                  <c:v>5.25</c:v>
                </c:pt>
                <c:pt idx="2291">
                  <c:v>5.25</c:v>
                </c:pt>
                <c:pt idx="2292">
                  <c:v>5.25</c:v>
                </c:pt>
                <c:pt idx="2293">
                  <c:v>5.25</c:v>
                </c:pt>
                <c:pt idx="2294">
                  <c:v>5.25</c:v>
                </c:pt>
                <c:pt idx="2295">
                  <c:v>5.25</c:v>
                </c:pt>
                <c:pt idx="2296">
                  <c:v>5.25</c:v>
                </c:pt>
                <c:pt idx="2297">
                  <c:v>5.25</c:v>
                </c:pt>
                <c:pt idx="2298">
                  <c:v>5.25</c:v>
                </c:pt>
                <c:pt idx="2299">
                  <c:v>5.25</c:v>
                </c:pt>
                <c:pt idx="2300">
                  <c:v>5.25</c:v>
                </c:pt>
                <c:pt idx="2301">
                  <c:v>5.25</c:v>
                </c:pt>
                <c:pt idx="2302">
                  <c:v>5.25</c:v>
                </c:pt>
                <c:pt idx="2303">
                  <c:v>5.25</c:v>
                </c:pt>
                <c:pt idx="2304">
                  <c:v>5.25</c:v>
                </c:pt>
                <c:pt idx="2305">
                  <c:v>5.25</c:v>
                </c:pt>
                <c:pt idx="2306">
                  <c:v>5.25</c:v>
                </c:pt>
                <c:pt idx="2307">
                  <c:v>5.25</c:v>
                </c:pt>
                <c:pt idx="2308">
                  <c:v>5.25</c:v>
                </c:pt>
                <c:pt idx="2309">
                  <c:v>5.25</c:v>
                </c:pt>
                <c:pt idx="2310">
                  <c:v>5.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5BF-4E90-A947-E8B3EB0252DE}"/>
            </c:ext>
          </c:extLst>
        </c:ser>
        <c:ser>
          <c:idx val="1"/>
          <c:order val="1"/>
          <c:spPr>
            <a:ln w="76200" algn="ctr">
              <a:solidFill>
                <a:schemeClr val="accent6"/>
              </a:solidFill>
              <a:prstDash val="sysDot"/>
            </a:ln>
          </c:spPr>
          <c:marker>
            <c:symbol val="none"/>
          </c:marker>
          <c:xVal>
            <c:numRef>
              <c:f>Sheet1!$A$1:$CUU$1</c:f>
              <c:numCache>
                <c:formatCode>General</c:formatCode>
                <c:ptCount val="2595"/>
                <c:pt idx="0">
                  <c:v>14613</c:v>
                </c:pt>
                <c:pt idx="1">
                  <c:v>14614</c:v>
                </c:pt>
                <c:pt idx="2">
                  <c:v>14615</c:v>
                </c:pt>
                <c:pt idx="3">
                  <c:v>14616</c:v>
                </c:pt>
                <c:pt idx="4">
                  <c:v>14617</c:v>
                </c:pt>
                <c:pt idx="5">
                  <c:v>14620</c:v>
                </c:pt>
                <c:pt idx="6">
                  <c:v>14621</c:v>
                </c:pt>
                <c:pt idx="7">
                  <c:v>14622</c:v>
                </c:pt>
                <c:pt idx="8">
                  <c:v>14623</c:v>
                </c:pt>
                <c:pt idx="9">
                  <c:v>14624</c:v>
                </c:pt>
                <c:pt idx="10">
                  <c:v>14627</c:v>
                </c:pt>
                <c:pt idx="11">
                  <c:v>14628</c:v>
                </c:pt>
                <c:pt idx="12">
                  <c:v>14629</c:v>
                </c:pt>
                <c:pt idx="13">
                  <c:v>14630</c:v>
                </c:pt>
                <c:pt idx="14">
                  <c:v>14631</c:v>
                </c:pt>
                <c:pt idx="15">
                  <c:v>14634</c:v>
                </c:pt>
                <c:pt idx="16">
                  <c:v>14635</c:v>
                </c:pt>
                <c:pt idx="17">
                  <c:v>14636</c:v>
                </c:pt>
                <c:pt idx="18">
                  <c:v>14637</c:v>
                </c:pt>
                <c:pt idx="19">
                  <c:v>14638</c:v>
                </c:pt>
                <c:pt idx="20">
                  <c:v>14641</c:v>
                </c:pt>
                <c:pt idx="21">
                  <c:v>14642</c:v>
                </c:pt>
                <c:pt idx="22">
                  <c:v>14643</c:v>
                </c:pt>
                <c:pt idx="23">
                  <c:v>14644</c:v>
                </c:pt>
                <c:pt idx="24">
                  <c:v>14645</c:v>
                </c:pt>
                <c:pt idx="25">
                  <c:v>14648</c:v>
                </c:pt>
                <c:pt idx="26">
                  <c:v>14649</c:v>
                </c:pt>
                <c:pt idx="27">
                  <c:v>14650</c:v>
                </c:pt>
                <c:pt idx="28">
                  <c:v>14651</c:v>
                </c:pt>
                <c:pt idx="29">
                  <c:v>14652</c:v>
                </c:pt>
                <c:pt idx="30">
                  <c:v>14655</c:v>
                </c:pt>
                <c:pt idx="31">
                  <c:v>14656</c:v>
                </c:pt>
                <c:pt idx="32">
                  <c:v>14657</c:v>
                </c:pt>
                <c:pt idx="33">
                  <c:v>14658</c:v>
                </c:pt>
                <c:pt idx="34">
                  <c:v>14659</c:v>
                </c:pt>
                <c:pt idx="35">
                  <c:v>14662</c:v>
                </c:pt>
                <c:pt idx="36">
                  <c:v>14663</c:v>
                </c:pt>
                <c:pt idx="37">
                  <c:v>14664</c:v>
                </c:pt>
                <c:pt idx="38">
                  <c:v>14665</c:v>
                </c:pt>
                <c:pt idx="39">
                  <c:v>14666</c:v>
                </c:pt>
                <c:pt idx="40">
                  <c:v>14669</c:v>
                </c:pt>
                <c:pt idx="41">
                  <c:v>14670</c:v>
                </c:pt>
                <c:pt idx="42">
                  <c:v>14671</c:v>
                </c:pt>
                <c:pt idx="43">
                  <c:v>14672</c:v>
                </c:pt>
                <c:pt idx="44">
                  <c:v>14673</c:v>
                </c:pt>
                <c:pt idx="45">
                  <c:v>14676</c:v>
                </c:pt>
                <c:pt idx="46">
                  <c:v>14677</c:v>
                </c:pt>
                <c:pt idx="47">
                  <c:v>14678</c:v>
                </c:pt>
                <c:pt idx="48">
                  <c:v>14679</c:v>
                </c:pt>
                <c:pt idx="49">
                  <c:v>14680</c:v>
                </c:pt>
                <c:pt idx="50">
                  <c:v>14683</c:v>
                </c:pt>
                <c:pt idx="51">
                  <c:v>14684</c:v>
                </c:pt>
                <c:pt idx="52">
                  <c:v>14685</c:v>
                </c:pt>
                <c:pt idx="53">
                  <c:v>14686</c:v>
                </c:pt>
                <c:pt idx="54">
                  <c:v>14687</c:v>
                </c:pt>
                <c:pt idx="55">
                  <c:v>14690</c:v>
                </c:pt>
                <c:pt idx="56">
                  <c:v>14691</c:v>
                </c:pt>
                <c:pt idx="57">
                  <c:v>14692</c:v>
                </c:pt>
                <c:pt idx="58">
                  <c:v>14693</c:v>
                </c:pt>
                <c:pt idx="59">
                  <c:v>14694</c:v>
                </c:pt>
                <c:pt idx="60">
                  <c:v>14697</c:v>
                </c:pt>
                <c:pt idx="61">
                  <c:v>14698</c:v>
                </c:pt>
                <c:pt idx="62">
                  <c:v>14699</c:v>
                </c:pt>
                <c:pt idx="63">
                  <c:v>14705</c:v>
                </c:pt>
                <c:pt idx="64">
                  <c:v>14706</c:v>
                </c:pt>
                <c:pt idx="65">
                  <c:v>14707</c:v>
                </c:pt>
                <c:pt idx="66">
                  <c:v>14708</c:v>
                </c:pt>
                <c:pt idx="67">
                  <c:v>14711</c:v>
                </c:pt>
                <c:pt idx="68">
                  <c:v>14712</c:v>
                </c:pt>
                <c:pt idx="69">
                  <c:v>14713</c:v>
                </c:pt>
                <c:pt idx="70">
                  <c:v>14714</c:v>
                </c:pt>
                <c:pt idx="71">
                  <c:v>14715</c:v>
                </c:pt>
                <c:pt idx="72">
                  <c:v>14718</c:v>
                </c:pt>
                <c:pt idx="73">
                  <c:v>14719</c:v>
                </c:pt>
                <c:pt idx="74">
                  <c:v>14720</c:v>
                </c:pt>
                <c:pt idx="75">
                  <c:v>14722</c:v>
                </c:pt>
                <c:pt idx="76">
                  <c:v>14725</c:v>
                </c:pt>
                <c:pt idx="77">
                  <c:v>14726</c:v>
                </c:pt>
                <c:pt idx="78">
                  <c:v>14727</c:v>
                </c:pt>
                <c:pt idx="79">
                  <c:v>14728</c:v>
                </c:pt>
                <c:pt idx="80">
                  <c:v>14729</c:v>
                </c:pt>
                <c:pt idx="81">
                  <c:v>14732</c:v>
                </c:pt>
                <c:pt idx="82">
                  <c:v>14733</c:v>
                </c:pt>
                <c:pt idx="83">
                  <c:v>14734</c:v>
                </c:pt>
                <c:pt idx="84">
                  <c:v>14735</c:v>
                </c:pt>
                <c:pt idx="85">
                  <c:v>14736</c:v>
                </c:pt>
                <c:pt idx="86">
                  <c:v>14739</c:v>
                </c:pt>
                <c:pt idx="87">
                  <c:v>14740</c:v>
                </c:pt>
                <c:pt idx="88">
                  <c:v>14741</c:v>
                </c:pt>
                <c:pt idx="89">
                  <c:v>14743</c:v>
                </c:pt>
                <c:pt idx="90">
                  <c:v>14746</c:v>
                </c:pt>
                <c:pt idx="91">
                  <c:v>14747</c:v>
                </c:pt>
                <c:pt idx="92">
                  <c:v>14748</c:v>
                </c:pt>
                <c:pt idx="93">
                  <c:v>14749</c:v>
                </c:pt>
                <c:pt idx="94">
                  <c:v>14750</c:v>
                </c:pt>
                <c:pt idx="95">
                  <c:v>14754</c:v>
                </c:pt>
                <c:pt idx="96">
                  <c:v>14755</c:v>
                </c:pt>
                <c:pt idx="97">
                  <c:v>14756</c:v>
                </c:pt>
                <c:pt idx="98">
                  <c:v>14757</c:v>
                </c:pt>
                <c:pt idx="99">
                  <c:v>14760</c:v>
                </c:pt>
                <c:pt idx="100">
                  <c:v>14761</c:v>
                </c:pt>
                <c:pt idx="101">
                  <c:v>14762</c:v>
                </c:pt>
                <c:pt idx="102">
                  <c:v>14763</c:v>
                </c:pt>
                <c:pt idx="103">
                  <c:v>14764</c:v>
                </c:pt>
                <c:pt idx="104">
                  <c:v>14767</c:v>
                </c:pt>
                <c:pt idx="105">
                  <c:v>14768</c:v>
                </c:pt>
                <c:pt idx="106">
                  <c:v>14769</c:v>
                </c:pt>
                <c:pt idx="107">
                  <c:v>14770</c:v>
                </c:pt>
                <c:pt idx="108">
                  <c:v>14771</c:v>
                </c:pt>
                <c:pt idx="109">
                  <c:v>14774</c:v>
                </c:pt>
                <c:pt idx="110">
                  <c:v>14775</c:v>
                </c:pt>
                <c:pt idx="111">
                  <c:v>14776</c:v>
                </c:pt>
                <c:pt idx="112">
                  <c:v>14778</c:v>
                </c:pt>
                <c:pt idx="113">
                  <c:v>14781</c:v>
                </c:pt>
                <c:pt idx="114">
                  <c:v>14782</c:v>
                </c:pt>
                <c:pt idx="115">
                  <c:v>14783</c:v>
                </c:pt>
                <c:pt idx="116">
                  <c:v>14784</c:v>
                </c:pt>
                <c:pt idx="117">
                  <c:v>14785</c:v>
                </c:pt>
                <c:pt idx="118">
                  <c:v>14788</c:v>
                </c:pt>
                <c:pt idx="119">
                  <c:v>14789</c:v>
                </c:pt>
                <c:pt idx="120">
                  <c:v>14790</c:v>
                </c:pt>
                <c:pt idx="121">
                  <c:v>14791</c:v>
                </c:pt>
                <c:pt idx="122">
                  <c:v>14792</c:v>
                </c:pt>
                <c:pt idx="123">
                  <c:v>14795</c:v>
                </c:pt>
                <c:pt idx="124">
                  <c:v>14796</c:v>
                </c:pt>
                <c:pt idx="125">
                  <c:v>14797</c:v>
                </c:pt>
                <c:pt idx="126">
                  <c:v>14798</c:v>
                </c:pt>
                <c:pt idx="127">
                  <c:v>14799</c:v>
                </c:pt>
                <c:pt idx="128">
                  <c:v>14802</c:v>
                </c:pt>
                <c:pt idx="129">
                  <c:v>14803</c:v>
                </c:pt>
                <c:pt idx="130">
                  <c:v>14804</c:v>
                </c:pt>
                <c:pt idx="131">
                  <c:v>14805</c:v>
                </c:pt>
                <c:pt idx="132">
                  <c:v>14806</c:v>
                </c:pt>
                <c:pt idx="133">
                  <c:v>14809</c:v>
                </c:pt>
                <c:pt idx="134">
                  <c:v>14810</c:v>
                </c:pt>
                <c:pt idx="135">
                  <c:v>14811</c:v>
                </c:pt>
                <c:pt idx="136">
                  <c:v>14812</c:v>
                </c:pt>
                <c:pt idx="137">
                  <c:v>14813</c:v>
                </c:pt>
                <c:pt idx="138">
                  <c:v>14816</c:v>
                </c:pt>
                <c:pt idx="139">
                  <c:v>14817</c:v>
                </c:pt>
                <c:pt idx="140">
                  <c:v>14818</c:v>
                </c:pt>
                <c:pt idx="141">
                  <c:v>14819</c:v>
                </c:pt>
                <c:pt idx="142">
                  <c:v>14820</c:v>
                </c:pt>
                <c:pt idx="143">
                  <c:v>14824</c:v>
                </c:pt>
                <c:pt idx="144">
                  <c:v>14825</c:v>
                </c:pt>
                <c:pt idx="145">
                  <c:v>14826</c:v>
                </c:pt>
                <c:pt idx="146">
                  <c:v>14827</c:v>
                </c:pt>
                <c:pt idx="147">
                  <c:v>14830</c:v>
                </c:pt>
                <c:pt idx="148">
                  <c:v>14831</c:v>
                </c:pt>
                <c:pt idx="149">
                  <c:v>14832</c:v>
                </c:pt>
                <c:pt idx="150">
                  <c:v>14833</c:v>
                </c:pt>
                <c:pt idx="151">
                  <c:v>14834</c:v>
                </c:pt>
                <c:pt idx="152">
                  <c:v>14837</c:v>
                </c:pt>
                <c:pt idx="153">
                  <c:v>14838</c:v>
                </c:pt>
                <c:pt idx="154">
                  <c:v>14839</c:v>
                </c:pt>
                <c:pt idx="155">
                  <c:v>14840</c:v>
                </c:pt>
                <c:pt idx="156">
                  <c:v>14841</c:v>
                </c:pt>
                <c:pt idx="157">
                  <c:v>14844</c:v>
                </c:pt>
                <c:pt idx="158">
                  <c:v>14845</c:v>
                </c:pt>
                <c:pt idx="159">
                  <c:v>14846</c:v>
                </c:pt>
                <c:pt idx="160">
                  <c:v>14847</c:v>
                </c:pt>
                <c:pt idx="161">
                  <c:v>14848</c:v>
                </c:pt>
                <c:pt idx="162">
                  <c:v>14851</c:v>
                </c:pt>
                <c:pt idx="163">
                  <c:v>14852</c:v>
                </c:pt>
                <c:pt idx="164">
                  <c:v>14853</c:v>
                </c:pt>
                <c:pt idx="165">
                  <c:v>14854</c:v>
                </c:pt>
                <c:pt idx="166">
                  <c:v>14855</c:v>
                </c:pt>
                <c:pt idx="167">
                  <c:v>14858</c:v>
                </c:pt>
                <c:pt idx="168">
                  <c:v>14859</c:v>
                </c:pt>
                <c:pt idx="169">
                  <c:v>14860</c:v>
                </c:pt>
                <c:pt idx="170">
                  <c:v>14861</c:v>
                </c:pt>
                <c:pt idx="171">
                  <c:v>14862</c:v>
                </c:pt>
                <c:pt idx="172">
                  <c:v>14865</c:v>
                </c:pt>
                <c:pt idx="173">
                  <c:v>14866</c:v>
                </c:pt>
                <c:pt idx="174">
                  <c:v>14867</c:v>
                </c:pt>
                <c:pt idx="175">
                  <c:v>14868</c:v>
                </c:pt>
                <c:pt idx="176">
                  <c:v>14869</c:v>
                </c:pt>
                <c:pt idx="177">
                  <c:v>14872</c:v>
                </c:pt>
                <c:pt idx="178">
                  <c:v>14873</c:v>
                </c:pt>
                <c:pt idx="179">
                  <c:v>14874</c:v>
                </c:pt>
                <c:pt idx="180">
                  <c:v>14875</c:v>
                </c:pt>
                <c:pt idx="181">
                  <c:v>14876</c:v>
                </c:pt>
                <c:pt idx="182">
                  <c:v>14879</c:v>
                </c:pt>
                <c:pt idx="183">
                  <c:v>14880</c:v>
                </c:pt>
                <c:pt idx="184">
                  <c:v>14881</c:v>
                </c:pt>
                <c:pt idx="185">
                  <c:v>14882</c:v>
                </c:pt>
                <c:pt idx="186">
                  <c:v>14883</c:v>
                </c:pt>
                <c:pt idx="187">
                  <c:v>14886</c:v>
                </c:pt>
                <c:pt idx="188">
                  <c:v>14887</c:v>
                </c:pt>
                <c:pt idx="189">
                  <c:v>14888</c:v>
                </c:pt>
                <c:pt idx="190">
                  <c:v>14889</c:v>
                </c:pt>
                <c:pt idx="191">
                  <c:v>14890</c:v>
                </c:pt>
                <c:pt idx="192">
                  <c:v>14893</c:v>
                </c:pt>
                <c:pt idx="193">
                  <c:v>14894</c:v>
                </c:pt>
                <c:pt idx="194">
                  <c:v>14895</c:v>
                </c:pt>
                <c:pt idx="195">
                  <c:v>14896</c:v>
                </c:pt>
                <c:pt idx="196">
                  <c:v>14897</c:v>
                </c:pt>
                <c:pt idx="197">
                  <c:v>14900</c:v>
                </c:pt>
                <c:pt idx="198">
                  <c:v>14901</c:v>
                </c:pt>
                <c:pt idx="199">
                  <c:v>14902</c:v>
                </c:pt>
                <c:pt idx="200">
                  <c:v>14903</c:v>
                </c:pt>
                <c:pt idx="201">
                  <c:v>14904</c:v>
                </c:pt>
                <c:pt idx="202">
                  <c:v>14907</c:v>
                </c:pt>
                <c:pt idx="203">
                  <c:v>14908</c:v>
                </c:pt>
                <c:pt idx="204">
                  <c:v>14909</c:v>
                </c:pt>
                <c:pt idx="205">
                  <c:v>14910</c:v>
                </c:pt>
                <c:pt idx="206">
                  <c:v>14911</c:v>
                </c:pt>
                <c:pt idx="207">
                  <c:v>14914</c:v>
                </c:pt>
                <c:pt idx="208">
                  <c:v>14915</c:v>
                </c:pt>
                <c:pt idx="209">
                  <c:v>14916</c:v>
                </c:pt>
                <c:pt idx="210">
                  <c:v>14917</c:v>
                </c:pt>
                <c:pt idx="211">
                  <c:v>14918</c:v>
                </c:pt>
                <c:pt idx="212">
                  <c:v>14921</c:v>
                </c:pt>
                <c:pt idx="213">
                  <c:v>14922</c:v>
                </c:pt>
                <c:pt idx="214">
                  <c:v>14923</c:v>
                </c:pt>
                <c:pt idx="215">
                  <c:v>14924</c:v>
                </c:pt>
                <c:pt idx="216">
                  <c:v>14925</c:v>
                </c:pt>
                <c:pt idx="217">
                  <c:v>14928</c:v>
                </c:pt>
                <c:pt idx="218">
                  <c:v>14929</c:v>
                </c:pt>
                <c:pt idx="219">
                  <c:v>14930</c:v>
                </c:pt>
                <c:pt idx="220">
                  <c:v>14931</c:v>
                </c:pt>
                <c:pt idx="221">
                  <c:v>14932</c:v>
                </c:pt>
                <c:pt idx="222">
                  <c:v>14935</c:v>
                </c:pt>
                <c:pt idx="223">
                  <c:v>14936</c:v>
                </c:pt>
                <c:pt idx="224">
                  <c:v>14937</c:v>
                </c:pt>
                <c:pt idx="225">
                  <c:v>14938</c:v>
                </c:pt>
                <c:pt idx="226">
                  <c:v>14939</c:v>
                </c:pt>
                <c:pt idx="227">
                  <c:v>14942</c:v>
                </c:pt>
                <c:pt idx="228">
                  <c:v>14943</c:v>
                </c:pt>
                <c:pt idx="229">
                  <c:v>14944</c:v>
                </c:pt>
                <c:pt idx="230">
                  <c:v>14945</c:v>
                </c:pt>
                <c:pt idx="231">
                  <c:v>14946</c:v>
                </c:pt>
                <c:pt idx="232">
                  <c:v>14949</c:v>
                </c:pt>
                <c:pt idx="233">
                  <c:v>14950</c:v>
                </c:pt>
                <c:pt idx="234">
                  <c:v>14951</c:v>
                </c:pt>
                <c:pt idx="235">
                  <c:v>14952</c:v>
                </c:pt>
                <c:pt idx="236">
                  <c:v>14953</c:v>
                </c:pt>
                <c:pt idx="237">
                  <c:v>14956</c:v>
                </c:pt>
                <c:pt idx="238">
                  <c:v>14957</c:v>
                </c:pt>
                <c:pt idx="239">
                  <c:v>14958</c:v>
                </c:pt>
                <c:pt idx="240">
                  <c:v>14959</c:v>
                </c:pt>
                <c:pt idx="241">
                  <c:v>14960</c:v>
                </c:pt>
                <c:pt idx="242">
                  <c:v>14963</c:v>
                </c:pt>
                <c:pt idx="243">
                  <c:v>14964</c:v>
                </c:pt>
                <c:pt idx="244">
                  <c:v>14965</c:v>
                </c:pt>
                <c:pt idx="245">
                  <c:v>14966</c:v>
                </c:pt>
                <c:pt idx="246">
                  <c:v>14970</c:v>
                </c:pt>
                <c:pt idx="247">
                  <c:v>14971</c:v>
                </c:pt>
                <c:pt idx="248">
                  <c:v>14972</c:v>
                </c:pt>
                <c:pt idx="249">
                  <c:v>14973</c:v>
                </c:pt>
                <c:pt idx="250">
                  <c:v>14974</c:v>
                </c:pt>
                <c:pt idx="251">
                  <c:v>14977</c:v>
                </c:pt>
                <c:pt idx="252">
                  <c:v>14978</c:v>
                </c:pt>
                <c:pt idx="253">
                  <c:v>14979</c:v>
                </c:pt>
                <c:pt idx="254">
                  <c:v>14980</c:v>
                </c:pt>
                <c:pt idx="255">
                  <c:v>14981</c:v>
                </c:pt>
                <c:pt idx="256">
                  <c:v>14984</c:v>
                </c:pt>
                <c:pt idx="257">
                  <c:v>14985</c:v>
                </c:pt>
                <c:pt idx="258">
                  <c:v>14986</c:v>
                </c:pt>
                <c:pt idx="259">
                  <c:v>14987</c:v>
                </c:pt>
                <c:pt idx="260">
                  <c:v>14988</c:v>
                </c:pt>
                <c:pt idx="261">
                  <c:v>14991</c:v>
                </c:pt>
                <c:pt idx="262">
                  <c:v>14992</c:v>
                </c:pt>
                <c:pt idx="263">
                  <c:v>14993</c:v>
                </c:pt>
                <c:pt idx="264">
                  <c:v>14994</c:v>
                </c:pt>
                <c:pt idx="265">
                  <c:v>14995</c:v>
                </c:pt>
                <c:pt idx="266">
                  <c:v>14998</c:v>
                </c:pt>
                <c:pt idx="267">
                  <c:v>14999</c:v>
                </c:pt>
                <c:pt idx="268">
                  <c:v>15000</c:v>
                </c:pt>
                <c:pt idx="269">
                  <c:v>15001</c:v>
                </c:pt>
                <c:pt idx="270">
                  <c:v>15002</c:v>
                </c:pt>
                <c:pt idx="271">
                  <c:v>15005</c:v>
                </c:pt>
                <c:pt idx="272">
                  <c:v>15006</c:v>
                </c:pt>
                <c:pt idx="273">
                  <c:v>15007</c:v>
                </c:pt>
                <c:pt idx="274">
                  <c:v>15008</c:v>
                </c:pt>
                <c:pt idx="275">
                  <c:v>15009</c:v>
                </c:pt>
                <c:pt idx="276">
                  <c:v>15012</c:v>
                </c:pt>
                <c:pt idx="277">
                  <c:v>15013</c:v>
                </c:pt>
                <c:pt idx="278">
                  <c:v>15014</c:v>
                </c:pt>
                <c:pt idx="279">
                  <c:v>15015</c:v>
                </c:pt>
                <c:pt idx="280">
                  <c:v>15016</c:v>
                </c:pt>
                <c:pt idx="281">
                  <c:v>15019</c:v>
                </c:pt>
                <c:pt idx="282">
                  <c:v>15020</c:v>
                </c:pt>
                <c:pt idx="283">
                  <c:v>15021</c:v>
                </c:pt>
                <c:pt idx="284">
                  <c:v>15022</c:v>
                </c:pt>
                <c:pt idx="285">
                  <c:v>15023</c:v>
                </c:pt>
                <c:pt idx="286">
                  <c:v>15026</c:v>
                </c:pt>
                <c:pt idx="287">
                  <c:v>15027</c:v>
                </c:pt>
                <c:pt idx="288">
                  <c:v>15028</c:v>
                </c:pt>
                <c:pt idx="289">
                  <c:v>15029</c:v>
                </c:pt>
                <c:pt idx="290">
                  <c:v>15030</c:v>
                </c:pt>
                <c:pt idx="291">
                  <c:v>15033</c:v>
                </c:pt>
                <c:pt idx="292">
                  <c:v>15034</c:v>
                </c:pt>
                <c:pt idx="293">
                  <c:v>15035</c:v>
                </c:pt>
                <c:pt idx="294">
                  <c:v>15036</c:v>
                </c:pt>
                <c:pt idx="295">
                  <c:v>15037</c:v>
                </c:pt>
                <c:pt idx="296">
                  <c:v>15040</c:v>
                </c:pt>
                <c:pt idx="297">
                  <c:v>15041</c:v>
                </c:pt>
                <c:pt idx="298">
                  <c:v>15042</c:v>
                </c:pt>
                <c:pt idx="299">
                  <c:v>15043</c:v>
                </c:pt>
                <c:pt idx="300">
                  <c:v>15044</c:v>
                </c:pt>
                <c:pt idx="301">
                  <c:v>15047</c:v>
                </c:pt>
                <c:pt idx="302">
                  <c:v>15048</c:v>
                </c:pt>
                <c:pt idx="303">
                  <c:v>15049</c:v>
                </c:pt>
                <c:pt idx="304">
                  <c:v>15050</c:v>
                </c:pt>
                <c:pt idx="305">
                  <c:v>15051</c:v>
                </c:pt>
                <c:pt idx="306">
                  <c:v>15054</c:v>
                </c:pt>
                <c:pt idx="307">
                  <c:v>15055</c:v>
                </c:pt>
                <c:pt idx="308">
                  <c:v>15056</c:v>
                </c:pt>
                <c:pt idx="309">
                  <c:v>15057</c:v>
                </c:pt>
                <c:pt idx="310">
                  <c:v>15058</c:v>
                </c:pt>
                <c:pt idx="311">
                  <c:v>15061</c:v>
                </c:pt>
                <c:pt idx="312">
                  <c:v>15062</c:v>
                </c:pt>
                <c:pt idx="313">
                  <c:v>15063</c:v>
                </c:pt>
                <c:pt idx="314">
                  <c:v>15064</c:v>
                </c:pt>
                <c:pt idx="315">
                  <c:v>15065</c:v>
                </c:pt>
                <c:pt idx="316">
                  <c:v>15068</c:v>
                </c:pt>
                <c:pt idx="317">
                  <c:v>15069</c:v>
                </c:pt>
                <c:pt idx="318">
                  <c:v>15070</c:v>
                </c:pt>
                <c:pt idx="319">
                  <c:v>15071</c:v>
                </c:pt>
                <c:pt idx="320">
                  <c:v>15072</c:v>
                </c:pt>
                <c:pt idx="321">
                  <c:v>15075</c:v>
                </c:pt>
                <c:pt idx="322">
                  <c:v>15076</c:v>
                </c:pt>
                <c:pt idx="323">
                  <c:v>15077</c:v>
                </c:pt>
                <c:pt idx="324">
                  <c:v>15078</c:v>
                </c:pt>
                <c:pt idx="325">
                  <c:v>15079</c:v>
                </c:pt>
                <c:pt idx="326">
                  <c:v>15082</c:v>
                </c:pt>
                <c:pt idx="327">
                  <c:v>15083</c:v>
                </c:pt>
                <c:pt idx="328">
                  <c:v>15084</c:v>
                </c:pt>
                <c:pt idx="329">
                  <c:v>15090</c:v>
                </c:pt>
                <c:pt idx="330">
                  <c:v>15091</c:v>
                </c:pt>
                <c:pt idx="331">
                  <c:v>15092</c:v>
                </c:pt>
                <c:pt idx="332">
                  <c:v>15093</c:v>
                </c:pt>
                <c:pt idx="333">
                  <c:v>15096</c:v>
                </c:pt>
                <c:pt idx="334">
                  <c:v>15097</c:v>
                </c:pt>
                <c:pt idx="335">
                  <c:v>15098</c:v>
                </c:pt>
                <c:pt idx="336">
                  <c:v>15099</c:v>
                </c:pt>
                <c:pt idx="337">
                  <c:v>15100</c:v>
                </c:pt>
                <c:pt idx="338">
                  <c:v>15103</c:v>
                </c:pt>
                <c:pt idx="339">
                  <c:v>15104</c:v>
                </c:pt>
                <c:pt idx="340">
                  <c:v>15105</c:v>
                </c:pt>
                <c:pt idx="341">
                  <c:v>15106</c:v>
                </c:pt>
                <c:pt idx="342">
                  <c:v>15107</c:v>
                </c:pt>
                <c:pt idx="343">
                  <c:v>15110</c:v>
                </c:pt>
                <c:pt idx="344">
                  <c:v>15111</c:v>
                </c:pt>
                <c:pt idx="345">
                  <c:v>15112</c:v>
                </c:pt>
                <c:pt idx="346">
                  <c:v>15113</c:v>
                </c:pt>
                <c:pt idx="347">
                  <c:v>15114</c:v>
                </c:pt>
                <c:pt idx="348">
                  <c:v>15117</c:v>
                </c:pt>
                <c:pt idx="349">
                  <c:v>15118</c:v>
                </c:pt>
                <c:pt idx="350">
                  <c:v>15119</c:v>
                </c:pt>
                <c:pt idx="351">
                  <c:v>15120</c:v>
                </c:pt>
                <c:pt idx="352">
                  <c:v>15121</c:v>
                </c:pt>
                <c:pt idx="353">
                  <c:v>15124</c:v>
                </c:pt>
                <c:pt idx="354">
                  <c:v>15125</c:v>
                </c:pt>
                <c:pt idx="355">
                  <c:v>15126</c:v>
                </c:pt>
                <c:pt idx="356">
                  <c:v>15128</c:v>
                </c:pt>
                <c:pt idx="357">
                  <c:v>15131</c:v>
                </c:pt>
                <c:pt idx="358">
                  <c:v>15132</c:v>
                </c:pt>
                <c:pt idx="359">
                  <c:v>15133</c:v>
                </c:pt>
                <c:pt idx="360">
                  <c:v>15134</c:v>
                </c:pt>
                <c:pt idx="361">
                  <c:v>15135</c:v>
                </c:pt>
                <c:pt idx="362">
                  <c:v>15139</c:v>
                </c:pt>
                <c:pt idx="363">
                  <c:v>15140</c:v>
                </c:pt>
                <c:pt idx="364">
                  <c:v>15141</c:v>
                </c:pt>
                <c:pt idx="365">
                  <c:v>15145</c:v>
                </c:pt>
                <c:pt idx="366">
                  <c:v>15146</c:v>
                </c:pt>
                <c:pt idx="367">
                  <c:v>15147</c:v>
                </c:pt>
                <c:pt idx="368">
                  <c:v>15148</c:v>
                </c:pt>
                <c:pt idx="369">
                  <c:v>15149</c:v>
                </c:pt>
                <c:pt idx="370">
                  <c:v>15152</c:v>
                </c:pt>
                <c:pt idx="371">
                  <c:v>15153</c:v>
                </c:pt>
                <c:pt idx="372">
                  <c:v>15154</c:v>
                </c:pt>
                <c:pt idx="373">
                  <c:v>15155</c:v>
                </c:pt>
                <c:pt idx="374">
                  <c:v>15156</c:v>
                </c:pt>
                <c:pt idx="375">
                  <c:v>15159</c:v>
                </c:pt>
                <c:pt idx="376">
                  <c:v>15160</c:v>
                </c:pt>
                <c:pt idx="377">
                  <c:v>15161</c:v>
                </c:pt>
                <c:pt idx="378">
                  <c:v>15162</c:v>
                </c:pt>
                <c:pt idx="379">
                  <c:v>15163</c:v>
                </c:pt>
                <c:pt idx="380">
                  <c:v>15166</c:v>
                </c:pt>
                <c:pt idx="381">
                  <c:v>15167</c:v>
                </c:pt>
                <c:pt idx="382">
                  <c:v>15168</c:v>
                </c:pt>
                <c:pt idx="383">
                  <c:v>15169</c:v>
                </c:pt>
                <c:pt idx="384">
                  <c:v>15170</c:v>
                </c:pt>
                <c:pt idx="385">
                  <c:v>15173</c:v>
                </c:pt>
                <c:pt idx="386">
                  <c:v>15174</c:v>
                </c:pt>
                <c:pt idx="387">
                  <c:v>15175</c:v>
                </c:pt>
                <c:pt idx="388">
                  <c:v>15176</c:v>
                </c:pt>
                <c:pt idx="389">
                  <c:v>15177</c:v>
                </c:pt>
                <c:pt idx="390">
                  <c:v>15180</c:v>
                </c:pt>
                <c:pt idx="391">
                  <c:v>15181</c:v>
                </c:pt>
                <c:pt idx="392">
                  <c:v>15182</c:v>
                </c:pt>
                <c:pt idx="393">
                  <c:v>15183</c:v>
                </c:pt>
                <c:pt idx="394">
                  <c:v>15184</c:v>
                </c:pt>
                <c:pt idx="395">
                  <c:v>15188</c:v>
                </c:pt>
                <c:pt idx="396">
                  <c:v>15189</c:v>
                </c:pt>
                <c:pt idx="397">
                  <c:v>15190</c:v>
                </c:pt>
                <c:pt idx="398">
                  <c:v>15191</c:v>
                </c:pt>
                <c:pt idx="399">
                  <c:v>15194</c:v>
                </c:pt>
                <c:pt idx="400">
                  <c:v>15195</c:v>
                </c:pt>
                <c:pt idx="401">
                  <c:v>15196</c:v>
                </c:pt>
                <c:pt idx="402">
                  <c:v>15197</c:v>
                </c:pt>
                <c:pt idx="403">
                  <c:v>15198</c:v>
                </c:pt>
                <c:pt idx="404">
                  <c:v>15201</c:v>
                </c:pt>
                <c:pt idx="405">
                  <c:v>15202</c:v>
                </c:pt>
                <c:pt idx="406">
                  <c:v>15203</c:v>
                </c:pt>
                <c:pt idx="407">
                  <c:v>15204</c:v>
                </c:pt>
                <c:pt idx="408">
                  <c:v>15205</c:v>
                </c:pt>
                <c:pt idx="409">
                  <c:v>15208</c:v>
                </c:pt>
                <c:pt idx="410">
                  <c:v>15209</c:v>
                </c:pt>
                <c:pt idx="411">
                  <c:v>15210</c:v>
                </c:pt>
                <c:pt idx="412">
                  <c:v>15211</c:v>
                </c:pt>
                <c:pt idx="413">
                  <c:v>15212</c:v>
                </c:pt>
                <c:pt idx="414">
                  <c:v>15215</c:v>
                </c:pt>
                <c:pt idx="415">
                  <c:v>15216</c:v>
                </c:pt>
                <c:pt idx="416">
                  <c:v>15217</c:v>
                </c:pt>
                <c:pt idx="417">
                  <c:v>15218</c:v>
                </c:pt>
                <c:pt idx="418">
                  <c:v>15219</c:v>
                </c:pt>
                <c:pt idx="419">
                  <c:v>15222</c:v>
                </c:pt>
                <c:pt idx="420">
                  <c:v>15223</c:v>
                </c:pt>
                <c:pt idx="421">
                  <c:v>15224</c:v>
                </c:pt>
                <c:pt idx="422">
                  <c:v>15225</c:v>
                </c:pt>
                <c:pt idx="423">
                  <c:v>15226</c:v>
                </c:pt>
                <c:pt idx="424">
                  <c:v>15229</c:v>
                </c:pt>
                <c:pt idx="425">
                  <c:v>15230</c:v>
                </c:pt>
                <c:pt idx="426">
                  <c:v>15231</c:v>
                </c:pt>
                <c:pt idx="427">
                  <c:v>15232</c:v>
                </c:pt>
                <c:pt idx="428">
                  <c:v>15233</c:v>
                </c:pt>
                <c:pt idx="429">
                  <c:v>15236</c:v>
                </c:pt>
                <c:pt idx="430">
                  <c:v>15237</c:v>
                </c:pt>
                <c:pt idx="431">
                  <c:v>15238</c:v>
                </c:pt>
                <c:pt idx="432">
                  <c:v>15239</c:v>
                </c:pt>
                <c:pt idx="433">
                  <c:v>15240</c:v>
                </c:pt>
                <c:pt idx="434">
                  <c:v>15243</c:v>
                </c:pt>
                <c:pt idx="435">
                  <c:v>15244</c:v>
                </c:pt>
                <c:pt idx="436">
                  <c:v>15245</c:v>
                </c:pt>
                <c:pt idx="437">
                  <c:v>15246</c:v>
                </c:pt>
                <c:pt idx="438">
                  <c:v>15247</c:v>
                </c:pt>
                <c:pt idx="439">
                  <c:v>15250</c:v>
                </c:pt>
                <c:pt idx="440">
                  <c:v>15251</c:v>
                </c:pt>
                <c:pt idx="441">
                  <c:v>15252</c:v>
                </c:pt>
                <c:pt idx="442">
                  <c:v>15253</c:v>
                </c:pt>
                <c:pt idx="443">
                  <c:v>15254</c:v>
                </c:pt>
                <c:pt idx="444">
                  <c:v>15257</c:v>
                </c:pt>
                <c:pt idx="445">
                  <c:v>15258</c:v>
                </c:pt>
                <c:pt idx="446">
                  <c:v>15259</c:v>
                </c:pt>
                <c:pt idx="447">
                  <c:v>15260</c:v>
                </c:pt>
                <c:pt idx="448">
                  <c:v>15261</c:v>
                </c:pt>
                <c:pt idx="449">
                  <c:v>15264</c:v>
                </c:pt>
                <c:pt idx="450">
                  <c:v>15265</c:v>
                </c:pt>
                <c:pt idx="451">
                  <c:v>15266</c:v>
                </c:pt>
                <c:pt idx="452">
                  <c:v>15267</c:v>
                </c:pt>
                <c:pt idx="453">
                  <c:v>15268</c:v>
                </c:pt>
                <c:pt idx="454">
                  <c:v>15271</c:v>
                </c:pt>
                <c:pt idx="455">
                  <c:v>15272</c:v>
                </c:pt>
                <c:pt idx="456">
                  <c:v>15273</c:v>
                </c:pt>
                <c:pt idx="457">
                  <c:v>15274</c:v>
                </c:pt>
                <c:pt idx="458">
                  <c:v>15275</c:v>
                </c:pt>
                <c:pt idx="459">
                  <c:v>15278</c:v>
                </c:pt>
                <c:pt idx="460">
                  <c:v>15279</c:v>
                </c:pt>
                <c:pt idx="461">
                  <c:v>15280</c:v>
                </c:pt>
                <c:pt idx="462">
                  <c:v>15281</c:v>
                </c:pt>
                <c:pt idx="463">
                  <c:v>15282</c:v>
                </c:pt>
                <c:pt idx="464">
                  <c:v>15285</c:v>
                </c:pt>
                <c:pt idx="465">
                  <c:v>15286</c:v>
                </c:pt>
                <c:pt idx="466">
                  <c:v>15287</c:v>
                </c:pt>
                <c:pt idx="467">
                  <c:v>15288</c:v>
                </c:pt>
                <c:pt idx="468">
                  <c:v>15289</c:v>
                </c:pt>
                <c:pt idx="469">
                  <c:v>15292</c:v>
                </c:pt>
                <c:pt idx="470">
                  <c:v>15293</c:v>
                </c:pt>
                <c:pt idx="471">
                  <c:v>15294</c:v>
                </c:pt>
                <c:pt idx="472">
                  <c:v>15295</c:v>
                </c:pt>
                <c:pt idx="473">
                  <c:v>15296</c:v>
                </c:pt>
                <c:pt idx="474">
                  <c:v>15299</c:v>
                </c:pt>
                <c:pt idx="475">
                  <c:v>15300</c:v>
                </c:pt>
                <c:pt idx="476">
                  <c:v>15301</c:v>
                </c:pt>
                <c:pt idx="477">
                  <c:v>15302</c:v>
                </c:pt>
                <c:pt idx="478">
                  <c:v>15303</c:v>
                </c:pt>
                <c:pt idx="479">
                  <c:v>15306</c:v>
                </c:pt>
                <c:pt idx="480">
                  <c:v>15307</c:v>
                </c:pt>
                <c:pt idx="481">
                  <c:v>15308</c:v>
                </c:pt>
                <c:pt idx="482">
                  <c:v>15309</c:v>
                </c:pt>
                <c:pt idx="483">
                  <c:v>15310</c:v>
                </c:pt>
                <c:pt idx="484">
                  <c:v>15313</c:v>
                </c:pt>
                <c:pt idx="485">
                  <c:v>15314</c:v>
                </c:pt>
                <c:pt idx="486">
                  <c:v>15315</c:v>
                </c:pt>
                <c:pt idx="487">
                  <c:v>15316</c:v>
                </c:pt>
                <c:pt idx="488">
                  <c:v>15317</c:v>
                </c:pt>
                <c:pt idx="489">
                  <c:v>15320</c:v>
                </c:pt>
                <c:pt idx="490">
                  <c:v>15321</c:v>
                </c:pt>
                <c:pt idx="491">
                  <c:v>15322</c:v>
                </c:pt>
                <c:pt idx="492">
                  <c:v>15323</c:v>
                </c:pt>
                <c:pt idx="493">
                  <c:v>15324</c:v>
                </c:pt>
                <c:pt idx="494">
                  <c:v>15327</c:v>
                </c:pt>
                <c:pt idx="495">
                  <c:v>15328</c:v>
                </c:pt>
                <c:pt idx="496">
                  <c:v>15329</c:v>
                </c:pt>
                <c:pt idx="497">
                  <c:v>15330</c:v>
                </c:pt>
                <c:pt idx="498">
                  <c:v>15331</c:v>
                </c:pt>
                <c:pt idx="499">
                  <c:v>15335</c:v>
                </c:pt>
                <c:pt idx="500">
                  <c:v>15336</c:v>
                </c:pt>
                <c:pt idx="501">
                  <c:v>15337</c:v>
                </c:pt>
                <c:pt idx="502">
                  <c:v>15338</c:v>
                </c:pt>
                <c:pt idx="503">
                  <c:v>15341</c:v>
                </c:pt>
                <c:pt idx="504">
                  <c:v>15342</c:v>
                </c:pt>
                <c:pt idx="505">
                  <c:v>15343</c:v>
                </c:pt>
                <c:pt idx="506">
                  <c:v>15344</c:v>
                </c:pt>
                <c:pt idx="507">
                  <c:v>15345</c:v>
                </c:pt>
                <c:pt idx="508">
                  <c:v>15348</c:v>
                </c:pt>
                <c:pt idx="509">
                  <c:v>15349</c:v>
                </c:pt>
                <c:pt idx="510">
                  <c:v>15350</c:v>
                </c:pt>
                <c:pt idx="511">
                  <c:v>15351</c:v>
                </c:pt>
                <c:pt idx="512">
                  <c:v>15352</c:v>
                </c:pt>
                <c:pt idx="513">
                  <c:v>15355</c:v>
                </c:pt>
                <c:pt idx="514">
                  <c:v>15356</c:v>
                </c:pt>
                <c:pt idx="515">
                  <c:v>15357</c:v>
                </c:pt>
                <c:pt idx="516">
                  <c:v>15358</c:v>
                </c:pt>
                <c:pt idx="517">
                  <c:v>15359</c:v>
                </c:pt>
                <c:pt idx="518">
                  <c:v>15362</c:v>
                </c:pt>
                <c:pt idx="519">
                  <c:v>15363</c:v>
                </c:pt>
                <c:pt idx="520">
                  <c:v>15364</c:v>
                </c:pt>
                <c:pt idx="521">
                  <c:v>15365</c:v>
                </c:pt>
                <c:pt idx="522">
                  <c:v>15366</c:v>
                </c:pt>
                <c:pt idx="523">
                  <c:v>15369</c:v>
                </c:pt>
                <c:pt idx="524">
                  <c:v>15370</c:v>
                </c:pt>
                <c:pt idx="525">
                  <c:v>15371</c:v>
                </c:pt>
                <c:pt idx="526">
                  <c:v>15372</c:v>
                </c:pt>
                <c:pt idx="527">
                  <c:v>15373</c:v>
                </c:pt>
                <c:pt idx="528">
                  <c:v>15376</c:v>
                </c:pt>
                <c:pt idx="529">
                  <c:v>15377</c:v>
                </c:pt>
                <c:pt idx="530">
                  <c:v>15378</c:v>
                </c:pt>
                <c:pt idx="531">
                  <c:v>15379</c:v>
                </c:pt>
                <c:pt idx="532">
                  <c:v>15380</c:v>
                </c:pt>
                <c:pt idx="533">
                  <c:v>15383</c:v>
                </c:pt>
                <c:pt idx="534">
                  <c:v>15384</c:v>
                </c:pt>
                <c:pt idx="535">
                  <c:v>15385</c:v>
                </c:pt>
                <c:pt idx="536">
                  <c:v>15386</c:v>
                </c:pt>
                <c:pt idx="537">
                  <c:v>15387</c:v>
                </c:pt>
                <c:pt idx="538">
                  <c:v>15390</c:v>
                </c:pt>
                <c:pt idx="539">
                  <c:v>15391</c:v>
                </c:pt>
                <c:pt idx="540">
                  <c:v>15392</c:v>
                </c:pt>
                <c:pt idx="541">
                  <c:v>15393</c:v>
                </c:pt>
                <c:pt idx="542">
                  <c:v>15394</c:v>
                </c:pt>
                <c:pt idx="543">
                  <c:v>15397</c:v>
                </c:pt>
                <c:pt idx="544">
                  <c:v>15398</c:v>
                </c:pt>
                <c:pt idx="545">
                  <c:v>15399</c:v>
                </c:pt>
                <c:pt idx="546">
                  <c:v>15400</c:v>
                </c:pt>
                <c:pt idx="547">
                  <c:v>15401</c:v>
                </c:pt>
                <c:pt idx="548">
                  <c:v>15404</c:v>
                </c:pt>
                <c:pt idx="549">
                  <c:v>15405</c:v>
                </c:pt>
                <c:pt idx="550">
                  <c:v>15406</c:v>
                </c:pt>
                <c:pt idx="551">
                  <c:v>15407</c:v>
                </c:pt>
                <c:pt idx="552">
                  <c:v>15408</c:v>
                </c:pt>
                <c:pt idx="553">
                  <c:v>15411</c:v>
                </c:pt>
                <c:pt idx="554">
                  <c:v>15412</c:v>
                </c:pt>
                <c:pt idx="555">
                  <c:v>15413</c:v>
                </c:pt>
                <c:pt idx="556">
                  <c:v>15414</c:v>
                </c:pt>
                <c:pt idx="557">
                  <c:v>15415</c:v>
                </c:pt>
                <c:pt idx="558">
                  <c:v>15418</c:v>
                </c:pt>
                <c:pt idx="559">
                  <c:v>15419</c:v>
                </c:pt>
                <c:pt idx="560">
                  <c:v>15420</c:v>
                </c:pt>
                <c:pt idx="561">
                  <c:v>15421</c:v>
                </c:pt>
                <c:pt idx="562">
                  <c:v>15422</c:v>
                </c:pt>
                <c:pt idx="563">
                  <c:v>15425</c:v>
                </c:pt>
                <c:pt idx="564">
                  <c:v>15426</c:v>
                </c:pt>
                <c:pt idx="565">
                  <c:v>15427</c:v>
                </c:pt>
                <c:pt idx="566">
                  <c:v>15428</c:v>
                </c:pt>
                <c:pt idx="567">
                  <c:v>15429</c:v>
                </c:pt>
                <c:pt idx="568">
                  <c:v>15432</c:v>
                </c:pt>
                <c:pt idx="569">
                  <c:v>15433</c:v>
                </c:pt>
                <c:pt idx="570">
                  <c:v>15434</c:v>
                </c:pt>
                <c:pt idx="571">
                  <c:v>15440</c:v>
                </c:pt>
                <c:pt idx="572">
                  <c:v>15441</c:v>
                </c:pt>
                <c:pt idx="573">
                  <c:v>15442</c:v>
                </c:pt>
                <c:pt idx="574">
                  <c:v>15443</c:v>
                </c:pt>
                <c:pt idx="575">
                  <c:v>15446</c:v>
                </c:pt>
                <c:pt idx="576">
                  <c:v>15447</c:v>
                </c:pt>
                <c:pt idx="577">
                  <c:v>15448</c:v>
                </c:pt>
                <c:pt idx="578">
                  <c:v>15450</c:v>
                </c:pt>
                <c:pt idx="579">
                  <c:v>15453</c:v>
                </c:pt>
                <c:pt idx="580">
                  <c:v>15454</c:v>
                </c:pt>
                <c:pt idx="581">
                  <c:v>15455</c:v>
                </c:pt>
                <c:pt idx="582">
                  <c:v>15456</c:v>
                </c:pt>
                <c:pt idx="583">
                  <c:v>15457</c:v>
                </c:pt>
                <c:pt idx="584">
                  <c:v>15460</c:v>
                </c:pt>
                <c:pt idx="585">
                  <c:v>15462</c:v>
                </c:pt>
                <c:pt idx="586">
                  <c:v>15463</c:v>
                </c:pt>
                <c:pt idx="587">
                  <c:v>15464</c:v>
                </c:pt>
                <c:pt idx="588">
                  <c:v>15467</c:v>
                </c:pt>
                <c:pt idx="589">
                  <c:v>15468</c:v>
                </c:pt>
                <c:pt idx="590">
                  <c:v>15469</c:v>
                </c:pt>
                <c:pt idx="591">
                  <c:v>15470</c:v>
                </c:pt>
                <c:pt idx="592">
                  <c:v>15471</c:v>
                </c:pt>
                <c:pt idx="593">
                  <c:v>15474</c:v>
                </c:pt>
                <c:pt idx="594">
                  <c:v>15475</c:v>
                </c:pt>
                <c:pt idx="595">
                  <c:v>15476</c:v>
                </c:pt>
                <c:pt idx="596">
                  <c:v>15478</c:v>
                </c:pt>
                <c:pt idx="597">
                  <c:v>15481</c:v>
                </c:pt>
                <c:pt idx="598">
                  <c:v>15482</c:v>
                </c:pt>
                <c:pt idx="599">
                  <c:v>15483</c:v>
                </c:pt>
                <c:pt idx="600">
                  <c:v>15484</c:v>
                </c:pt>
                <c:pt idx="601">
                  <c:v>15485</c:v>
                </c:pt>
                <c:pt idx="602">
                  <c:v>15489</c:v>
                </c:pt>
                <c:pt idx="603">
                  <c:v>15490</c:v>
                </c:pt>
                <c:pt idx="604">
                  <c:v>15491</c:v>
                </c:pt>
                <c:pt idx="605">
                  <c:v>15492</c:v>
                </c:pt>
                <c:pt idx="606">
                  <c:v>15495</c:v>
                </c:pt>
                <c:pt idx="607">
                  <c:v>15496</c:v>
                </c:pt>
                <c:pt idx="608">
                  <c:v>15497</c:v>
                </c:pt>
                <c:pt idx="609">
                  <c:v>15498</c:v>
                </c:pt>
                <c:pt idx="610">
                  <c:v>15499</c:v>
                </c:pt>
                <c:pt idx="611">
                  <c:v>15502</c:v>
                </c:pt>
                <c:pt idx="612">
                  <c:v>15503</c:v>
                </c:pt>
                <c:pt idx="613">
                  <c:v>15504</c:v>
                </c:pt>
                <c:pt idx="614">
                  <c:v>15505</c:v>
                </c:pt>
                <c:pt idx="615">
                  <c:v>15506</c:v>
                </c:pt>
                <c:pt idx="616">
                  <c:v>15509</c:v>
                </c:pt>
                <c:pt idx="617">
                  <c:v>15510</c:v>
                </c:pt>
                <c:pt idx="618">
                  <c:v>15511</c:v>
                </c:pt>
                <c:pt idx="619">
                  <c:v>15512</c:v>
                </c:pt>
                <c:pt idx="620">
                  <c:v>15513</c:v>
                </c:pt>
                <c:pt idx="621">
                  <c:v>15516</c:v>
                </c:pt>
                <c:pt idx="622">
                  <c:v>15517</c:v>
                </c:pt>
                <c:pt idx="623">
                  <c:v>15518</c:v>
                </c:pt>
                <c:pt idx="624">
                  <c:v>15519</c:v>
                </c:pt>
                <c:pt idx="625">
                  <c:v>15520</c:v>
                </c:pt>
                <c:pt idx="626">
                  <c:v>15523</c:v>
                </c:pt>
                <c:pt idx="627">
                  <c:v>15524</c:v>
                </c:pt>
                <c:pt idx="628">
                  <c:v>15525</c:v>
                </c:pt>
                <c:pt idx="629">
                  <c:v>15526</c:v>
                </c:pt>
                <c:pt idx="630">
                  <c:v>15527</c:v>
                </c:pt>
                <c:pt idx="631">
                  <c:v>15530</c:v>
                </c:pt>
                <c:pt idx="632">
                  <c:v>15531</c:v>
                </c:pt>
                <c:pt idx="633">
                  <c:v>15532</c:v>
                </c:pt>
                <c:pt idx="634">
                  <c:v>15533</c:v>
                </c:pt>
                <c:pt idx="635">
                  <c:v>15534</c:v>
                </c:pt>
                <c:pt idx="636">
                  <c:v>15537</c:v>
                </c:pt>
                <c:pt idx="637">
                  <c:v>15538</c:v>
                </c:pt>
                <c:pt idx="638">
                  <c:v>15539</c:v>
                </c:pt>
                <c:pt idx="639">
                  <c:v>15540</c:v>
                </c:pt>
                <c:pt idx="640">
                  <c:v>15541</c:v>
                </c:pt>
                <c:pt idx="641">
                  <c:v>15544</c:v>
                </c:pt>
                <c:pt idx="642">
                  <c:v>15545</c:v>
                </c:pt>
                <c:pt idx="643">
                  <c:v>15546</c:v>
                </c:pt>
                <c:pt idx="644">
                  <c:v>15547</c:v>
                </c:pt>
                <c:pt idx="645">
                  <c:v>15548</c:v>
                </c:pt>
                <c:pt idx="646">
                  <c:v>15551</c:v>
                </c:pt>
                <c:pt idx="647">
                  <c:v>15552</c:v>
                </c:pt>
                <c:pt idx="648">
                  <c:v>15553</c:v>
                </c:pt>
                <c:pt idx="649">
                  <c:v>15554</c:v>
                </c:pt>
                <c:pt idx="650">
                  <c:v>15555</c:v>
                </c:pt>
                <c:pt idx="651">
                  <c:v>15559</c:v>
                </c:pt>
                <c:pt idx="652">
                  <c:v>15560</c:v>
                </c:pt>
                <c:pt idx="653">
                  <c:v>15561</c:v>
                </c:pt>
                <c:pt idx="654">
                  <c:v>15562</c:v>
                </c:pt>
                <c:pt idx="655">
                  <c:v>15565</c:v>
                </c:pt>
                <c:pt idx="656">
                  <c:v>15566</c:v>
                </c:pt>
                <c:pt idx="657">
                  <c:v>15567</c:v>
                </c:pt>
                <c:pt idx="658">
                  <c:v>15568</c:v>
                </c:pt>
                <c:pt idx="659">
                  <c:v>15569</c:v>
                </c:pt>
                <c:pt idx="660">
                  <c:v>15572</c:v>
                </c:pt>
                <c:pt idx="661">
                  <c:v>15573</c:v>
                </c:pt>
                <c:pt idx="662">
                  <c:v>15574</c:v>
                </c:pt>
                <c:pt idx="663">
                  <c:v>15575</c:v>
                </c:pt>
                <c:pt idx="664">
                  <c:v>15576</c:v>
                </c:pt>
                <c:pt idx="665">
                  <c:v>15579</c:v>
                </c:pt>
                <c:pt idx="666">
                  <c:v>15580</c:v>
                </c:pt>
                <c:pt idx="667">
                  <c:v>15581</c:v>
                </c:pt>
                <c:pt idx="668">
                  <c:v>15582</c:v>
                </c:pt>
                <c:pt idx="669">
                  <c:v>15583</c:v>
                </c:pt>
                <c:pt idx="670">
                  <c:v>15586</c:v>
                </c:pt>
                <c:pt idx="671">
                  <c:v>15587</c:v>
                </c:pt>
                <c:pt idx="672">
                  <c:v>15588</c:v>
                </c:pt>
                <c:pt idx="673">
                  <c:v>15589</c:v>
                </c:pt>
                <c:pt idx="674">
                  <c:v>15590</c:v>
                </c:pt>
                <c:pt idx="675">
                  <c:v>15593</c:v>
                </c:pt>
                <c:pt idx="676">
                  <c:v>15594</c:v>
                </c:pt>
                <c:pt idx="677">
                  <c:v>15595</c:v>
                </c:pt>
                <c:pt idx="678">
                  <c:v>15596</c:v>
                </c:pt>
                <c:pt idx="679">
                  <c:v>15597</c:v>
                </c:pt>
                <c:pt idx="680">
                  <c:v>15600</c:v>
                </c:pt>
                <c:pt idx="681">
                  <c:v>15601</c:v>
                </c:pt>
                <c:pt idx="682">
                  <c:v>15602</c:v>
                </c:pt>
                <c:pt idx="683">
                  <c:v>15603</c:v>
                </c:pt>
                <c:pt idx="684">
                  <c:v>15604</c:v>
                </c:pt>
                <c:pt idx="685">
                  <c:v>15607</c:v>
                </c:pt>
                <c:pt idx="686">
                  <c:v>15608</c:v>
                </c:pt>
                <c:pt idx="687">
                  <c:v>15609</c:v>
                </c:pt>
                <c:pt idx="688">
                  <c:v>15610</c:v>
                </c:pt>
                <c:pt idx="689">
                  <c:v>15611</c:v>
                </c:pt>
                <c:pt idx="690">
                  <c:v>15614</c:v>
                </c:pt>
                <c:pt idx="691">
                  <c:v>15615</c:v>
                </c:pt>
                <c:pt idx="692">
                  <c:v>15616</c:v>
                </c:pt>
                <c:pt idx="693">
                  <c:v>15617</c:v>
                </c:pt>
                <c:pt idx="694">
                  <c:v>15618</c:v>
                </c:pt>
                <c:pt idx="695">
                  <c:v>15621</c:v>
                </c:pt>
                <c:pt idx="696">
                  <c:v>15622</c:v>
                </c:pt>
                <c:pt idx="697">
                  <c:v>15623</c:v>
                </c:pt>
                <c:pt idx="698">
                  <c:v>15624</c:v>
                </c:pt>
                <c:pt idx="699">
                  <c:v>15625</c:v>
                </c:pt>
                <c:pt idx="700">
                  <c:v>15628</c:v>
                </c:pt>
                <c:pt idx="701">
                  <c:v>15629</c:v>
                </c:pt>
                <c:pt idx="702">
                  <c:v>15630</c:v>
                </c:pt>
                <c:pt idx="703">
                  <c:v>15631</c:v>
                </c:pt>
                <c:pt idx="704">
                  <c:v>15632</c:v>
                </c:pt>
                <c:pt idx="705">
                  <c:v>15635</c:v>
                </c:pt>
                <c:pt idx="706">
                  <c:v>15636</c:v>
                </c:pt>
                <c:pt idx="707">
                  <c:v>15637</c:v>
                </c:pt>
                <c:pt idx="708">
                  <c:v>15638</c:v>
                </c:pt>
                <c:pt idx="709">
                  <c:v>15639</c:v>
                </c:pt>
                <c:pt idx="710">
                  <c:v>15642</c:v>
                </c:pt>
                <c:pt idx="711">
                  <c:v>15643</c:v>
                </c:pt>
                <c:pt idx="712">
                  <c:v>15644</c:v>
                </c:pt>
                <c:pt idx="713">
                  <c:v>15645</c:v>
                </c:pt>
                <c:pt idx="714">
                  <c:v>15646</c:v>
                </c:pt>
                <c:pt idx="715">
                  <c:v>15649</c:v>
                </c:pt>
                <c:pt idx="716">
                  <c:v>15650</c:v>
                </c:pt>
                <c:pt idx="717">
                  <c:v>15651</c:v>
                </c:pt>
                <c:pt idx="718">
                  <c:v>15652</c:v>
                </c:pt>
                <c:pt idx="719">
                  <c:v>15653</c:v>
                </c:pt>
                <c:pt idx="720">
                  <c:v>15656</c:v>
                </c:pt>
                <c:pt idx="721">
                  <c:v>15657</c:v>
                </c:pt>
                <c:pt idx="722">
                  <c:v>15658</c:v>
                </c:pt>
                <c:pt idx="723">
                  <c:v>15659</c:v>
                </c:pt>
                <c:pt idx="724">
                  <c:v>15660</c:v>
                </c:pt>
                <c:pt idx="725">
                  <c:v>15663</c:v>
                </c:pt>
                <c:pt idx="726">
                  <c:v>15664</c:v>
                </c:pt>
                <c:pt idx="727">
                  <c:v>15665</c:v>
                </c:pt>
                <c:pt idx="728">
                  <c:v>15666</c:v>
                </c:pt>
                <c:pt idx="729">
                  <c:v>15667</c:v>
                </c:pt>
                <c:pt idx="730">
                  <c:v>15670</c:v>
                </c:pt>
                <c:pt idx="731">
                  <c:v>15671</c:v>
                </c:pt>
                <c:pt idx="732">
                  <c:v>15672</c:v>
                </c:pt>
                <c:pt idx="733">
                  <c:v>15673</c:v>
                </c:pt>
                <c:pt idx="734">
                  <c:v>15674</c:v>
                </c:pt>
                <c:pt idx="735">
                  <c:v>15677</c:v>
                </c:pt>
                <c:pt idx="736">
                  <c:v>15678</c:v>
                </c:pt>
                <c:pt idx="737">
                  <c:v>15679</c:v>
                </c:pt>
                <c:pt idx="738">
                  <c:v>15680</c:v>
                </c:pt>
                <c:pt idx="739">
                  <c:v>15681</c:v>
                </c:pt>
                <c:pt idx="740">
                  <c:v>15684</c:v>
                </c:pt>
                <c:pt idx="741">
                  <c:v>15685</c:v>
                </c:pt>
                <c:pt idx="742">
                  <c:v>15686</c:v>
                </c:pt>
                <c:pt idx="743">
                  <c:v>15687</c:v>
                </c:pt>
                <c:pt idx="744">
                  <c:v>15688</c:v>
                </c:pt>
                <c:pt idx="745">
                  <c:v>15691</c:v>
                </c:pt>
                <c:pt idx="746">
                  <c:v>15692</c:v>
                </c:pt>
                <c:pt idx="747">
                  <c:v>15693</c:v>
                </c:pt>
                <c:pt idx="748">
                  <c:v>15694</c:v>
                </c:pt>
                <c:pt idx="749">
                  <c:v>15695</c:v>
                </c:pt>
                <c:pt idx="750">
                  <c:v>15701</c:v>
                </c:pt>
                <c:pt idx="751">
                  <c:v>15702</c:v>
                </c:pt>
                <c:pt idx="752">
                  <c:v>15705</c:v>
                </c:pt>
                <c:pt idx="753">
                  <c:v>15707</c:v>
                </c:pt>
                <c:pt idx="754">
                  <c:v>15708</c:v>
                </c:pt>
                <c:pt idx="755">
                  <c:v>15709</c:v>
                </c:pt>
                <c:pt idx="756">
                  <c:v>15712</c:v>
                </c:pt>
                <c:pt idx="757">
                  <c:v>15713</c:v>
                </c:pt>
                <c:pt idx="758">
                  <c:v>15714</c:v>
                </c:pt>
                <c:pt idx="759">
                  <c:v>15715</c:v>
                </c:pt>
                <c:pt idx="760">
                  <c:v>15716</c:v>
                </c:pt>
                <c:pt idx="761">
                  <c:v>15719</c:v>
                </c:pt>
                <c:pt idx="762">
                  <c:v>15720</c:v>
                </c:pt>
                <c:pt idx="763">
                  <c:v>15721</c:v>
                </c:pt>
                <c:pt idx="764">
                  <c:v>15722</c:v>
                </c:pt>
                <c:pt idx="765">
                  <c:v>15723</c:v>
                </c:pt>
                <c:pt idx="766">
                  <c:v>15726</c:v>
                </c:pt>
                <c:pt idx="767">
                  <c:v>15727</c:v>
                </c:pt>
                <c:pt idx="768">
                  <c:v>15728</c:v>
                </c:pt>
                <c:pt idx="769">
                  <c:v>15729</c:v>
                </c:pt>
                <c:pt idx="770">
                  <c:v>15730</c:v>
                </c:pt>
                <c:pt idx="771">
                  <c:v>15733</c:v>
                </c:pt>
                <c:pt idx="772">
                  <c:v>15734</c:v>
                </c:pt>
                <c:pt idx="773">
                  <c:v>15735</c:v>
                </c:pt>
                <c:pt idx="774">
                  <c:v>15736</c:v>
                </c:pt>
                <c:pt idx="775">
                  <c:v>15737</c:v>
                </c:pt>
                <c:pt idx="776">
                  <c:v>15740</c:v>
                </c:pt>
                <c:pt idx="777">
                  <c:v>15741</c:v>
                </c:pt>
                <c:pt idx="778">
                  <c:v>15742</c:v>
                </c:pt>
                <c:pt idx="779">
                  <c:v>15743</c:v>
                </c:pt>
                <c:pt idx="780">
                  <c:v>15744</c:v>
                </c:pt>
                <c:pt idx="781">
                  <c:v>15747</c:v>
                </c:pt>
                <c:pt idx="782">
                  <c:v>15748</c:v>
                </c:pt>
                <c:pt idx="783">
                  <c:v>15749</c:v>
                </c:pt>
                <c:pt idx="784">
                  <c:v>15750</c:v>
                </c:pt>
                <c:pt idx="785">
                  <c:v>15751</c:v>
                </c:pt>
                <c:pt idx="786">
                  <c:v>15754</c:v>
                </c:pt>
                <c:pt idx="787">
                  <c:v>15755</c:v>
                </c:pt>
                <c:pt idx="788">
                  <c:v>15756</c:v>
                </c:pt>
                <c:pt idx="789">
                  <c:v>15757</c:v>
                </c:pt>
                <c:pt idx="790">
                  <c:v>15758</c:v>
                </c:pt>
                <c:pt idx="791">
                  <c:v>15761</c:v>
                </c:pt>
                <c:pt idx="792">
                  <c:v>15762</c:v>
                </c:pt>
                <c:pt idx="793">
                  <c:v>15763</c:v>
                </c:pt>
                <c:pt idx="794">
                  <c:v>15764</c:v>
                </c:pt>
                <c:pt idx="795">
                  <c:v>15765</c:v>
                </c:pt>
                <c:pt idx="796">
                  <c:v>15768</c:v>
                </c:pt>
                <c:pt idx="797">
                  <c:v>15769</c:v>
                </c:pt>
                <c:pt idx="798">
                  <c:v>15770</c:v>
                </c:pt>
                <c:pt idx="799">
                  <c:v>15771</c:v>
                </c:pt>
                <c:pt idx="800">
                  <c:v>15772</c:v>
                </c:pt>
                <c:pt idx="801">
                  <c:v>15775</c:v>
                </c:pt>
                <c:pt idx="802">
                  <c:v>15776</c:v>
                </c:pt>
                <c:pt idx="803">
                  <c:v>15777</c:v>
                </c:pt>
                <c:pt idx="804">
                  <c:v>15778</c:v>
                </c:pt>
                <c:pt idx="805">
                  <c:v>15779</c:v>
                </c:pt>
                <c:pt idx="806">
                  <c:v>15782</c:v>
                </c:pt>
                <c:pt idx="807">
                  <c:v>15783</c:v>
                </c:pt>
                <c:pt idx="808">
                  <c:v>15784</c:v>
                </c:pt>
                <c:pt idx="809">
                  <c:v>15785</c:v>
                </c:pt>
                <c:pt idx="810">
                  <c:v>15786</c:v>
                </c:pt>
                <c:pt idx="811">
                  <c:v>15789</c:v>
                </c:pt>
                <c:pt idx="812">
                  <c:v>15790</c:v>
                </c:pt>
                <c:pt idx="813">
                  <c:v>15791</c:v>
                </c:pt>
                <c:pt idx="814">
                  <c:v>15797</c:v>
                </c:pt>
                <c:pt idx="815">
                  <c:v>15798</c:v>
                </c:pt>
                <c:pt idx="816">
                  <c:v>15799</c:v>
                </c:pt>
                <c:pt idx="817">
                  <c:v>15800</c:v>
                </c:pt>
                <c:pt idx="818">
                  <c:v>15803</c:v>
                </c:pt>
                <c:pt idx="819">
                  <c:v>15804</c:v>
                </c:pt>
                <c:pt idx="820">
                  <c:v>15805</c:v>
                </c:pt>
                <c:pt idx="821">
                  <c:v>15806</c:v>
                </c:pt>
                <c:pt idx="822">
                  <c:v>15807</c:v>
                </c:pt>
                <c:pt idx="823">
                  <c:v>15810</c:v>
                </c:pt>
                <c:pt idx="824">
                  <c:v>15811</c:v>
                </c:pt>
                <c:pt idx="825">
                  <c:v>15812</c:v>
                </c:pt>
                <c:pt idx="826">
                  <c:v>15813</c:v>
                </c:pt>
                <c:pt idx="827">
                  <c:v>15814</c:v>
                </c:pt>
                <c:pt idx="828">
                  <c:v>15817</c:v>
                </c:pt>
                <c:pt idx="829">
                  <c:v>15818</c:v>
                </c:pt>
                <c:pt idx="830">
                  <c:v>15819</c:v>
                </c:pt>
                <c:pt idx="831">
                  <c:v>15821</c:v>
                </c:pt>
                <c:pt idx="832">
                  <c:v>15824</c:v>
                </c:pt>
                <c:pt idx="833">
                  <c:v>15825</c:v>
                </c:pt>
                <c:pt idx="834">
                  <c:v>15827</c:v>
                </c:pt>
                <c:pt idx="835">
                  <c:v>15828</c:v>
                </c:pt>
                <c:pt idx="836">
                  <c:v>15831</c:v>
                </c:pt>
                <c:pt idx="837">
                  <c:v>15832</c:v>
                </c:pt>
                <c:pt idx="838">
                  <c:v>15833</c:v>
                </c:pt>
                <c:pt idx="839">
                  <c:v>15835</c:v>
                </c:pt>
                <c:pt idx="840">
                  <c:v>15838</c:v>
                </c:pt>
                <c:pt idx="841">
                  <c:v>15839</c:v>
                </c:pt>
                <c:pt idx="842">
                  <c:v>15840</c:v>
                </c:pt>
                <c:pt idx="843">
                  <c:v>15841</c:v>
                </c:pt>
                <c:pt idx="844">
                  <c:v>15842</c:v>
                </c:pt>
                <c:pt idx="845">
                  <c:v>15846</c:v>
                </c:pt>
                <c:pt idx="846">
                  <c:v>15847</c:v>
                </c:pt>
                <c:pt idx="847">
                  <c:v>15848</c:v>
                </c:pt>
                <c:pt idx="848">
                  <c:v>15849</c:v>
                </c:pt>
                <c:pt idx="849">
                  <c:v>15852</c:v>
                </c:pt>
                <c:pt idx="850">
                  <c:v>15853</c:v>
                </c:pt>
                <c:pt idx="851">
                  <c:v>15854</c:v>
                </c:pt>
                <c:pt idx="852">
                  <c:v>15855</c:v>
                </c:pt>
                <c:pt idx="853">
                  <c:v>15856</c:v>
                </c:pt>
                <c:pt idx="854">
                  <c:v>15859</c:v>
                </c:pt>
                <c:pt idx="855">
                  <c:v>15860</c:v>
                </c:pt>
                <c:pt idx="856">
                  <c:v>15861</c:v>
                </c:pt>
                <c:pt idx="857">
                  <c:v>15862</c:v>
                </c:pt>
                <c:pt idx="858">
                  <c:v>15863</c:v>
                </c:pt>
                <c:pt idx="859">
                  <c:v>15866</c:v>
                </c:pt>
                <c:pt idx="860">
                  <c:v>15867</c:v>
                </c:pt>
                <c:pt idx="861">
                  <c:v>15868</c:v>
                </c:pt>
                <c:pt idx="862">
                  <c:v>15869</c:v>
                </c:pt>
                <c:pt idx="863">
                  <c:v>15870</c:v>
                </c:pt>
                <c:pt idx="864">
                  <c:v>15874</c:v>
                </c:pt>
                <c:pt idx="865">
                  <c:v>15875</c:v>
                </c:pt>
                <c:pt idx="866">
                  <c:v>15876</c:v>
                </c:pt>
                <c:pt idx="867">
                  <c:v>15877</c:v>
                </c:pt>
                <c:pt idx="868">
                  <c:v>15880</c:v>
                </c:pt>
                <c:pt idx="869">
                  <c:v>15881</c:v>
                </c:pt>
                <c:pt idx="870">
                  <c:v>15882</c:v>
                </c:pt>
                <c:pt idx="871">
                  <c:v>15883</c:v>
                </c:pt>
                <c:pt idx="872">
                  <c:v>15884</c:v>
                </c:pt>
                <c:pt idx="873">
                  <c:v>15887</c:v>
                </c:pt>
                <c:pt idx="874">
                  <c:v>15888</c:v>
                </c:pt>
                <c:pt idx="875">
                  <c:v>15889</c:v>
                </c:pt>
                <c:pt idx="876">
                  <c:v>15890</c:v>
                </c:pt>
                <c:pt idx="877">
                  <c:v>15891</c:v>
                </c:pt>
                <c:pt idx="878">
                  <c:v>15894</c:v>
                </c:pt>
                <c:pt idx="879">
                  <c:v>15895</c:v>
                </c:pt>
                <c:pt idx="880">
                  <c:v>15896</c:v>
                </c:pt>
                <c:pt idx="881">
                  <c:v>15897</c:v>
                </c:pt>
                <c:pt idx="882">
                  <c:v>15898</c:v>
                </c:pt>
                <c:pt idx="883">
                  <c:v>15901</c:v>
                </c:pt>
                <c:pt idx="884">
                  <c:v>15902</c:v>
                </c:pt>
                <c:pt idx="885">
                  <c:v>15903</c:v>
                </c:pt>
                <c:pt idx="886">
                  <c:v>15904</c:v>
                </c:pt>
                <c:pt idx="887">
                  <c:v>15905</c:v>
                </c:pt>
                <c:pt idx="888">
                  <c:v>15908</c:v>
                </c:pt>
                <c:pt idx="889">
                  <c:v>15909</c:v>
                </c:pt>
                <c:pt idx="890">
                  <c:v>15910</c:v>
                </c:pt>
                <c:pt idx="891">
                  <c:v>15911</c:v>
                </c:pt>
                <c:pt idx="892">
                  <c:v>15912</c:v>
                </c:pt>
                <c:pt idx="893">
                  <c:v>15915</c:v>
                </c:pt>
                <c:pt idx="894">
                  <c:v>15916</c:v>
                </c:pt>
                <c:pt idx="895">
                  <c:v>15917</c:v>
                </c:pt>
                <c:pt idx="896">
                  <c:v>15918</c:v>
                </c:pt>
                <c:pt idx="897">
                  <c:v>15919</c:v>
                </c:pt>
                <c:pt idx="898">
                  <c:v>15923</c:v>
                </c:pt>
                <c:pt idx="899">
                  <c:v>15924</c:v>
                </c:pt>
                <c:pt idx="900">
                  <c:v>15925</c:v>
                </c:pt>
                <c:pt idx="901">
                  <c:v>15926</c:v>
                </c:pt>
                <c:pt idx="902">
                  <c:v>15929</c:v>
                </c:pt>
                <c:pt idx="903">
                  <c:v>15930</c:v>
                </c:pt>
                <c:pt idx="904">
                  <c:v>15931</c:v>
                </c:pt>
                <c:pt idx="905">
                  <c:v>15932</c:v>
                </c:pt>
                <c:pt idx="906">
                  <c:v>15933</c:v>
                </c:pt>
                <c:pt idx="907">
                  <c:v>15936</c:v>
                </c:pt>
                <c:pt idx="908">
                  <c:v>15937</c:v>
                </c:pt>
                <c:pt idx="909">
                  <c:v>15938</c:v>
                </c:pt>
                <c:pt idx="910">
                  <c:v>15939</c:v>
                </c:pt>
                <c:pt idx="911">
                  <c:v>15940</c:v>
                </c:pt>
                <c:pt idx="912">
                  <c:v>15943</c:v>
                </c:pt>
                <c:pt idx="913">
                  <c:v>15944</c:v>
                </c:pt>
                <c:pt idx="914">
                  <c:v>15945</c:v>
                </c:pt>
                <c:pt idx="915">
                  <c:v>15946</c:v>
                </c:pt>
                <c:pt idx="916">
                  <c:v>15947</c:v>
                </c:pt>
                <c:pt idx="917">
                  <c:v>15950</c:v>
                </c:pt>
                <c:pt idx="918">
                  <c:v>15951</c:v>
                </c:pt>
                <c:pt idx="919">
                  <c:v>15952</c:v>
                </c:pt>
                <c:pt idx="920">
                  <c:v>15953</c:v>
                </c:pt>
                <c:pt idx="921">
                  <c:v>15954</c:v>
                </c:pt>
                <c:pt idx="922">
                  <c:v>15957</c:v>
                </c:pt>
                <c:pt idx="923">
                  <c:v>15958</c:v>
                </c:pt>
                <c:pt idx="924">
                  <c:v>15959</c:v>
                </c:pt>
                <c:pt idx="925">
                  <c:v>15960</c:v>
                </c:pt>
                <c:pt idx="926">
                  <c:v>15961</c:v>
                </c:pt>
                <c:pt idx="927">
                  <c:v>15964</c:v>
                </c:pt>
                <c:pt idx="928">
                  <c:v>15965</c:v>
                </c:pt>
                <c:pt idx="929">
                  <c:v>15966</c:v>
                </c:pt>
                <c:pt idx="930">
                  <c:v>15967</c:v>
                </c:pt>
                <c:pt idx="931">
                  <c:v>15968</c:v>
                </c:pt>
                <c:pt idx="932">
                  <c:v>15971</c:v>
                </c:pt>
                <c:pt idx="933">
                  <c:v>15972</c:v>
                </c:pt>
                <c:pt idx="934">
                  <c:v>15973</c:v>
                </c:pt>
                <c:pt idx="935">
                  <c:v>15974</c:v>
                </c:pt>
                <c:pt idx="936">
                  <c:v>15975</c:v>
                </c:pt>
                <c:pt idx="937">
                  <c:v>15978</c:v>
                </c:pt>
                <c:pt idx="938">
                  <c:v>15979</c:v>
                </c:pt>
                <c:pt idx="939">
                  <c:v>15980</c:v>
                </c:pt>
                <c:pt idx="940">
                  <c:v>15981</c:v>
                </c:pt>
                <c:pt idx="941">
                  <c:v>15982</c:v>
                </c:pt>
                <c:pt idx="942">
                  <c:v>15985</c:v>
                </c:pt>
                <c:pt idx="943">
                  <c:v>15986</c:v>
                </c:pt>
                <c:pt idx="944">
                  <c:v>15987</c:v>
                </c:pt>
                <c:pt idx="945">
                  <c:v>15988</c:v>
                </c:pt>
                <c:pt idx="946">
                  <c:v>15989</c:v>
                </c:pt>
                <c:pt idx="947">
                  <c:v>15992</c:v>
                </c:pt>
                <c:pt idx="948">
                  <c:v>15993</c:v>
                </c:pt>
                <c:pt idx="949">
                  <c:v>15994</c:v>
                </c:pt>
                <c:pt idx="950">
                  <c:v>15995</c:v>
                </c:pt>
                <c:pt idx="951">
                  <c:v>15996</c:v>
                </c:pt>
                <c:pt idx="952">
                  <c:v>15999</c:v>
                </c:pt>
                <c:pt idx="953">
                  <c:v>16000</c:v>
                </c:pt>
                <c:pt idx="954">
                  <c:v>16001</c:v>
                </c:pt>
                <c:pt idx="955">
                  <c:v>16002</c:v>
                </c:pt>
                <c:pt idx="956">
                  <c:v>16003</c:v>
                </c:pt>
                <c:pt idx="957">
                  <c:v>16006</c:v>
                </c:pt>
                <c:pt idx="958">
                  <c:v>16007</c:v>
                </c:pt>
                <c:pt idx="959">
                  <c:v>16008</c:v>
                </c:pt>
                <c:pt idx="960">
                  <c:v>16009</c:v>
                </c:pt>
                <c:pt idx="961">
                  <c:v>16010</c:v>
                </c:pt>
                <c:pt idx="962">
                  <c:v>16013</c:v>
                </c:pt>
                <c:pt idx="963">
                  <c:v>16014</c:v>
                </c:pt>
                <c:pt idx="964">
                  <c:v>16015</c:v>
                </c:pt>
                <c:pt idx="965">
                  <c:v>16016</c:v>
                </c:pt>
                <c:pt idx="966">
                  <c:v>16017</c:v>
                </c:pt>
                <c:pt idx="967">
                  <c:v>16020</c:v>
                </c:pt>
                <c:pt idx="968">
                  <c:v>16021</c:v>
                </c:pt>
                <c:pt idx="969">
                  <c:v>16022</c:v>
                </c:pt>
                <c:pt idx="970">
                  <c:v>16023</c:v>
                </c:pt>
                <c:pt idx="971">
                  <c:v>16024</c:v>
                </c:pt>
                <c:pt idx="972">
                  <c:v>16027</c:v>
                </c:pt>
                <c:pt idx="973">
                  <c:v>16028</c:v>
                </c:pt>
                <c:pt idx="974">
                  <c:v>16029</c:v>
                </c:pt>
                <c:pt idx="975">
                  <c:v>16030</c:v>
                </c:pt>
                <c:pt idx="976">
                  <c:v>16031</c:v>
                </c:pt>
                <c:pt idx="977">
                  <c:v>16034</c:v>
                </c:pt>
                <c:pt idx="978">
                  <c:v>16035</c:v>
                </c:pt>
                <c:pt idx="979">
                  <c:v>16036</c:v>
                </c:pt>
                <c:pt idx="980">
                  <c:v>16037</c:v>
                </c:pt>
                <c:pt idx="981">
                  <c:v>16038</c:v>
                </c:pt>
                <c:pt idx="982">
                  <c:v>16041</c:v>
                </c:pt>
                <c:pt idx="983">
                  <c:v>16042</c:v>
                </c:pt>
                <c:pt idx="984">
                  <c:v>16043</c:v>
                </c:pt>
                <c:pt idx="985">
                  <c:v>16044</c:v>
                </c:pt>
                <c:pt idx="986">
                  <c:v>16045</c:v>
                </c:pt>
                <c:pt idx="987">
                  <c:v>16048</c:v>
                </c:pt>
                <c:pt idx="988">
                  <c:v>16049</c:v>
                </c:pt>
                <c:pt idx="989">
                  <c:v>16050</c:v>
                </c:pt>
                <c:pt idx="990">
                  <c:v>16051</c:v>
                </c:pt>
                <c:pt idx="991">
                  <c:v>16052</c:v>
                </c:pt>
                <c:pt idx="992">
                  <c:v>16055</c:v>
                </c:pt>
                <c:pt idx="993">
                  <c:v>16056</c:v>
                </c:pt>
                <c:pt idx="994">
                  <c:v>16057</c:v>
                </c:pt>
                <c:pt idx="995">
                  <c:v>16058</c:v>
                </c:pt>
                <c:pt idx="996">
                  <c:v>16059</c:v>
                </c:pt>
                <c:pt idx="997">
                  <c:v>16062</c:v>
                </c:pt>
                <c:pt idx="998">
                  <c:v>16063</c:v>
                </c:pt>
                <c:pt idx="999">
                  <c:v>16066</c:v>
                </c:pt>
                <c:pt idx="1000">
                  <c:v>16069</c:v>
                </c:pt>
                <c:pt idx="1001">
                  <c:v>16070</c:v>
                </c:pt>
                <c:pt idx="1002">
                  <c:v>16072</c:v>
                </c:pt>
                <c:pt idx="1003">
                  <c:v>16073</c:v>
                </c:pt>
                <c:pt idx="1004">
                  <c:v>16076</c:v>
                </c:pt>
                <c:pt idx="1005">
                  <c:v>16077</c:v>
                </c:pt>
                <c:pt idx="1006">
                  <c:v>16078</c:v>
                </c:pt>
                <c:pt idx="1007">
                  <c:v>16079</c:v>
                </c:pt>
                <c:pt idx="1008">
                  <c:v>16080</c:v>
                </c:pt>
                <c:pt idx="1009">
                  <c:v>16083</c:v>
                </c:pt>
                <c:pt idx="1010">
                  <c:v>16084</c:v>
                </c:pt>
                <c:pt idx="1011">
                  <c:v>16085</c:v>
                </c:pt>
                <c:pt idx="1012">
                  <c:v>16086</c:v>
                </c:pt>
                <c:pt idx="1013">
                  <c:v>16087</c:v>
                </c:pt>
                <c:pt idx="1014">
                  <c:v>16090</c:v>
                </c:pt>
                <c:pt idx="1015">
                  <c:v>16091</c:v>
                </c:pt>
                <c:pt idx="1016">
                  <c:v>16092</c:v>
                </c:pt>
                <c:pt idx="1017">
                  <c:v>16093</c:v>
                </c:pt>
                <c:pt idx="1018">
                  <c:v>16094</c:v>
                </c:pt>
                <c:pt idx="1019">
                  <c:v>16097</c:v>
                </c:pt>
                <c:pt idx="1020">
                  <c:v>16098</c:v>
                </c:pt>
                <c:pt idx="1021">
                  <c:v>16099</c:v>
                </c:pt>
                <c:pt idx="1022">
                  <c:v>16100</c:v>
                </c:pt>
                <c:pt idx="1023">
                  <c:v>16101</c:v>
                </c:pt>
                <c:pt idx="1024">
                  <c:v>16104</c:v>
                </c:pt>
                <c:pt idx="1025">
                  <c:v>16105</c:v>
                </c:pt>
                <c:pt idx="1026">
                  <c:v>16106</c:v>
                </c:pt>
                <c:pt idx="1027">
                  <c:v>16107</c:v>
                </c:pt>
                <c:pt idx="1028">
                  <c:v>16108</c:v>
                </c:pt>
                <c:pt idx="1029">
                  <c:v>16111</c:v>
                </c:pt>
                <c:pt idx="1030">
                  <c:v>16112</c:v>
                </c:pt>
                <c:pt idx="1031">
                  <c:v>16113</c:v>
                </c:pt>
                <c:pt idx="1032">
                  <c:v>16114</c:v>
                </c:pt>
                <c:pt idx="1033">
                  <c:v>16115</c:v>
                </c:pt>
                <c:pt idx="1034">
                  <c:v>16118</c:v>
                </c:pt>
                <c:pt idx="1035">
                  <c:v>16119</c:v>
                </c:pt>
                <c:pt idx="1036">
                  <c:v>16120</c:v>
                </c:pt>
                <c:pt idx="1037">
                  <c:v>16121</c:v>
                </c:pt>
                <c:pt idx="1038">
                  <c:v>16122</c:v>
                </c:pt>
                <c:pt idx="1039">
                  <c:v>16125</c:v>
                </c:pt>
                <c:pt idx="1040">
                  <c:v>16126</c:v>
                </c:pt>
                <c:pt idx="1041">
                  <c:v>16127</c:v>
                </c:pt>
                <c:pt idx="1042">
                  <c:v>16128</c:v>
                </c:pt>
                <c:pt idx="1043">
                  <c:v>16129</c:v>
                </c:pt>
                <c:pt idx="1044">
                  <c:v>16132</c:v>
                </c:pt>
                <c:pt idx="1045">
                  <c:v>16133</c:v>
                </c:pt>
                <c:pt idx="1046">
                  <c:v>16134</c:v>
                </c:pt>
                <c:pt idx="1047">
                  <c:v>16135</c:v>
                </c:pt>
                <c:pt idx="1048">
                  <c:v>16136</c:v>
                </c:pt>
                <c:pt idx="1049">
                  <c:v>16139</c:v>
                </c:pt>
                <c:pt idx="1050">
                  <c:v>16140</c:v>
                </c:pt>
                <c:pt idx="1051">
                  <c:v>16141</c:v>
                </c:pt>
                <c:pt idx="1052">
                  <c:v>16142</c:v>
                </c:pt>
                <c:pt idx="1053">
                  <c:v>16143</c:v>
                </c:pt>
                <c:pt idx="1054">
                  <c:v>16146</c:v>
                </c:pt>
                <c:pt idx="1055">
                  <c:v>16147</c:v>
                </c:pt>
                <c:pt idx="1056">
                  <c:v>16148</c:v>
                </c:pt>
                <c:pt idx="1057">
                  <c:v>16149</c:v>
                </c:pt>
                <c:pt idx="1058">
                  <c:v>16150</c:v>
                </c:pt>
                <c:pt idx="1059">
                  <c:v>16153</c:v>
                </c:pt>
                <c:pt idx="1060">
                  <c:v>16154</c:v>
                </c:pt>
                <c:pt idx="1061">
                  <c:v>16155</c:v>
                </c:pt>
                <c:pt idx="1062">
                  <c:v>16156</c:v>
                </c:pt>
                <c:pt idx="1063">
                  <c:v>16157</c:v>
                </c:pt>
                <c:pt idx="1064">
                  <c:v>16160</c:v>
                </c:pt>
                <c:pt idx="1065">
                  <c:v>16161</c:v>
                </c:pt>
                <c:pt idx="1066">
                  <c:v>16162</c:v>
                </c:pt>
                <c:pt idx="1067">
                  <c:v>16163</c:v>
                </c:pt>
                <c:pt idx="1068">
                  <c:v>16164</c:v>
                </c:pt>
                <c:pt idx="1069">
                  <c:v>16167</c:v>
                </c:pt>
                <c:pt idx="1070">
                  <c:v>16168</c:v>
                </c:pt>
                <c:pt idx="1071">
                  <c:v>16169</c:v>
                </c:pt>
                <c:pt idx="1072">
                  <c:v>16170</c:v>
                </c:pt>
                <c:pt idx="1073">
                  <c:v>16171</c:v>
                </c:pt>
                <c:pt idx="1074">
                  <c:v>16174</c:v>
                </c:pt>
                <c:pt idx="1075">
                  <c:v>16175</c:v>
                </c:pt>
                <c:pt idx="1076">
                  <c:v>16176</c:v>
                </c:pt>
                <c:pt idx="1077">
                  <c:v>16182</c:v>
                </c:pt>
                <c:pt idx="1078">
                  <c:v>16183</c:v>
                </c:pt>
                <c:pt idx="1079">
                  <c:v>16185</c:v>
                </c:pt>
                <c:pt idx="1080">
                  <c:v>16188</c:v>
                </c:pt>
                <c:pt idx="1081">
                  <c:v>16189</c:v>
                </c:pt>
                <c:pt idx="1082">
                  <c:v>16190</c:v>
                </c:pt>
                <c:pt idx="1083">
                  <c:v>16192</c:v>
                </c:pt>
                <c:pt idx="1084">
                  <c:v>16195</c:v>
                </c:pt>
                <c:pt idx="1085">
                  <c:v>16196</c:v>
                </c:pt>
                <c:pt idx="1086">
                  <c:v>16197</c:v>
                </c:pt>
                <c:pt idx="1087">
                  <c:v>16198</c:v>
                </c:pt>
                <c:pt idx="1088">
                  <c:v>16199</c:v>
                </c:pt>
                <c:pt idx="1089">
                  <c:v>16202</c:v>
                </c:pt>
                <c:pt idx="1090">
                  <c:v>16203</c:v>
                </c:pt>
                <c:pt idx="1091">
                  <c:v>16204</c:v>
                </c:pt>
                <c:pt idx="1092">
                  <c:v>16205</c:v>
                </c:pt>
                <c:pt idx="1093">
                  <c:v>16206</c:v>
                </c:pt>
                <c:pt idx="1094">
                  <c:v>16209</c:v>
                </c:pt>
                <c:pt idx="1095">
                  <c:v>16210</c:v>
                </c:pt>
                <c:pt idx="1096">
                  <c:v>16211</c:v>
                </c:pt>
                <c:pt idx="1097">
                  <c:v>16212</c:v>
                </c:pt>
                <c:pt idx="1098">
                  <c:v>16213</c:v>
                </c:pt>
                <c:pt idx="1099">
                  <c:v>16216</c:v>
                </c:pt>
                <c:pt idx="1100">
                  <c:v>16217</c:v>
                </c:pt>
                <c:pt idx="1101">
                  <c:v>16218</c:v>
                </c:pt>
                <c:pt idx="1102">
                  <c:v>16220</c:v>
                </c:pt>
                <c:pt idx="1103">
                  <c:v>16223</c:v>
                </c:pt>
                <c:pt idx="1104">
                  <c:v>16224</c:v>
                </c:pt>
                <c:pt idx="1105">
                  <c:v>16225</c:v>
                </c:pt>
                <c:pt idx="1106">
                  <c:v>16226</c:v>
                </c:pt>
                <c:pt idx="1107">
                  <c:v>16227</c:v>
                </c:pt>
                <c:pt idx="1108">
                  <c:v>16231</c:v>
                </c:pt>
                <c:pt idx="1109">
                  <c:v>16232</c:v>
                </c:pt>
                <c:pt idx="1110">
                  <c:v>16233</c:v>
                </c:pt>
                <c:pt idx="1111">
                  <c:v>16234</c:v>
                </c:pt>
                <c:pt idx="1112">
                  <c:v>16237</c:v>
                </c:pt>
                <c:pt idx="1113">
                  <c:v>16239</c:v>
                </c:pt>
                <c:pt idx="1114">
                  <c:v>16240</c:v>
                </c:pt>
                <c:pt idx="1115">
                  <c:v>16241</c:v>
                </c:pt>
                <c:pt idx="1116">
                  <c:v>16244</c:v>
                </c:pt>
                <c:pt idx="1117">
                  <c:v>16245</c:v>
                </c:pt>
                <c:pt idx="1118">
                  <c:v>16246</c:v>
                </c:pt>
                <c:pt idx="1119">
                  <c:v>16247</c:v>
                </c:pt>
                <c:pt idx="1120">
                  <c:v>16248</c:v>
                </c:pt>
                <c:pt idx="1121">
                  <c:v>16251</c:v>
                </c:pt>
                <c:pt idx="1122">
                  <c:v>16252</c:v>
                </c:pt>
                <c:pt idx="1123">
                  <c:v>16253</c:v>
                </c:pt>
                <c:pt idx="1124">
                  <c:v>16254</c:v>
                </c:pt>
                <c:pt idx="1125">
                  <c:v>16255</c:v>
                </c:pt>
                <c:pt idx="1126">
                  <c:v>16258</c:v>
                </c:pt>
                <c:pt idx="1127">
                  <c:v>16259</c:v>
                </c:pt>
                <c:pt idx="1128">
                  <c:v>16260</c:v>
                </c:pt>
                <c:pt idx="1129">
                  <c:v>16261</c:v>
                </c:pt>
                <c:pt idx="1130">
                  <c:v>16262</c:v>
                </c:pt>
                <c:pt idx="1131">
                  <c:v>16265</c:v>
                </c:pt>
                <c:pt idx="1132">
                  <c:v>16266</c:v>
                </c:pt>
                <c:pt idx="1133">
                  <c:v>16267</c:v>
                </c:pt>
                <c:pt idx="1134">
                  <c:v>16268</c:v>
                </c:pt>
                <c:pt idx="1135">
                  <c:v>16269</c:v>
                </c:pt>
                <c:pt idx="1136">
                  <c:v>16272</c:v>
                </c:pt>
                <c:pt idx="1137">
                  <c:v>16273</c:v>
                </c:pt>
                <c:pt idx="1138">
                  <c:v>16274</c:v>
                </c:pt>
                <c:pt idx="1139">
                  <c:v>16275</c:v>
                </c:pt>
                <c:pt idx="1140">
                  <c:v>16276</c:v>
                </c:pt>
                <c:pt idx="1141">
                  <c:v>16279</c:v>
                </c:pt>
                <c:pt idx="1142">
                  <c:v>16280</c:v>
                </c:pt>
                <c:pt idx="1143">
                  <c:v>16281</c:v>
                </c:pt>
                <c:pt idx="1144">
                  <c:v>16282</c:v>
                </c:pt>
                <c:pt idx="1145">
                  <c:v>16283</c:v>
                </c:pt>
                <c:pt idx="1146">
                  <c:v>16287</c:v>
                </c:pt>
                <c:pt idx="1147">
                  <c:v>16288</c:v>
                </c:pt>
                <c:pt idx="1148">
                  <c:v>16289</c:v>
                </c:pt>
                <c:pt idx="1149">
                  <c:v>16290</c:v>
                </c:pt>
                <c:pt idx="1150">
                  <c:v>16293</c:v>
                </c:pt>
                <c:pt idx="1151">
                  <c:v>16294</c:v>
                </c:pt>
                <c:pt idx="1152">
                  <c:v>16295</c:v>
                </c:pt>
                <c:pt idx="1153">
                  <c:v>16296</c:v>
                </c:pt>
                <c:pt idx="1154">
                  <c:v>16297</c:v>
                </c:pt>
                <c:pt idx="1155">
                  <c:v>16300</c:v>
                </c:pt>
                <c:pt idx="1156">
                  <c:v>16301</c:v>
                </c:pt>
                <c:pt idx="1157">
                  <c:v>16302</c:v>
                </c:pt>
                <c:pt idx="1158">
                  <c:v>16303</c:v>
                </c:pt>
                <c:pt idx="1159">
                  <c:v>16304</c:v>
                </c:pt>
                <c:pt idx="1160">
                  <c:v>16307</c:v>
                </c:pt>
                <c:pt idx="1161">
                  <c:v>16308</c:v>
                </c:pt>
                <c:pt idx="1162">
                  <c:v>16309</c:v>
                </c:pt>
                <c:pt idx="1163">
                  <c:v>16310</c:v>
                </c:pt>
                <c:pt idx="1164">
                  <c:v>16311</c:v>
                </c:pt>
                <c:pt idx="1165">
                  <c:v>16314</c:v>
                </c:pt>
                <c:pt idx="1166">
                  <c:v>16315</c:v>
                </c:pt>
                <c:pt idx="1167">
                  <c:v>16316</c:v>
                </c:pt>
                <c:pt idx="1168">
                  <c:v>16317</c:v>
                </c:pt>
                <c:pt idx="1169">
                  <c:v>16318</c:v>
                </c:pt>
                <c:pt idx="1170">
                  <c:v>16321</c:v>
                </c:pt>
                <c:pt idx="1171">
                  <c:v>16322</c:v>
                </c:pt>
                <c:pt idx="1172">
                  <c:v>16323</c:v>
                </c:pt>
                <c:pt idx="1173">
                  <c:v>16324</c:v>
                </c:pt>
                <c:pt idx="1174">
                  <c:v>16325</c:v>
                </c:pt>
                <c:pt idx="1175">
                  <c:v>16328</c:v>
                </c:pt>
                <c:pt idx="1176">
                  <c:v>16329</c:v>
                </c:pt>
                <c:pt idx="1177">
                  <c:v>16330</c:v>
                </c:pt>
                <c:pt idx="1178">
                  <c:v>16331</c:v>
                </c:pt>
                <c:pt idx="1179">
                  <c:v>16332</c:v>
                </c:pt>
                <c:pt idx="1180">
                  <c:v>16335</c:v>
                </c:pt>
                <c:pt idx="1181">
                  <c:v>16336</c:v>
                </c:pt>
                <c:pt idx="1182">
                  <c:v>16337</c:v>
                </c:pt>
                <c:pt idx="1183">
                  <c:v>16338</c:v>
                </c:pt>
                <c:pt idx="1184">
                  <c:v>16339</c:v>
                </c:pt>
                <c:pt idx="1185">
                  <c:v>16342</c:v>
                </c:pt>
                <c:pt idx="1186">
                  <c:v>16343</c:v>
                </c:pt>
                <c:pt idx="1187">
                  <c:v>16344</c:v>
                </c:pt>
                <c:pt idx="1188">
                  <c:v>16345</c:v>
                </c:pt>
                <c:pt idx="1189">
                  <c:v>16346</c:v>
                </c:pt>
                <c:pt idx="1190">
                  <c:v>16349</c:v>
                </c:pt>
                <c:pt idx="1191">
                  <c:v>16350</c:v>
                </c:pt>
                <c:pt idx="1192">
                  <c:v>16351</c:v>
                </c:pt>
                <c:pt idx="1193">
                  <c:v>16352</c:v>
                </c:pt>
                <c:pt idx="1194">
                  <c:v>16353</c:v>
                </c:pt>
                <c:pt idx="1195">
                  <c:v>16356</c:v>
                </c:pt>
                <c:pt idx="1196">
                  <c:v>16357</c:v>
                </c:pt>
                <c:pt idx="1197">
                  <c:v>16358</c:v>
                </c:pt>
                <c:pt idx="1198">
                  <c:v>16359</c:v>
                </c:pt>
                <c:pt idx="1199">
                  <c:v>16360</c:v>
                </c:pt>
                <c:pt idx="1200">
                  <c:v>16363</c:v>
                </c:pt>
                <c:pt idx="1201">
                  <c:v>16364</c:v>
                </c:pt>
                <c:pt idx="1202">
                  <c:v>16365</c:v>
                </c:pt>
                <c:pt idx="1203">
                  <c:v>16366</c:v>
                </c:pt>
                <c:pt idx="1204">
                  <c:v>16367</c:v>
                </c:pt>
                <c:pt idx="1205">
                  <c:v>16370</c:v>
                </c:pt>
                <c:pt idx="1206">
                  <c:v>16371</c:v>
                </c:pt>
                <c:pt idx="1207">
                  <c:v>16372</c:v>
                </c:pt>
                <c:pt idx="1208">
                  <c:v>16373</c:v>
                </c:pt>
                <c:pt idx="1209">
                  <c:v>16374</c:v>
                </c:pt>
                <c:pt idx="1210">
                  <c:v>16377</c:v>
                </c:pt>
                <c:pt idx="1211">
                  <c:v>16378</c:v>
                </c:pt>
                <c:pt idx="1212">
                  <c:v>16379</c:v>
                </c:pt>
                <c:pt idx="1213">
                  <c:v>16380</c:v>
                </c:pt>
                <c:pt idx="1214">
                  <c:v>16381</c:v>
                </c:pt>
                <c:pt idx="1215">
                  <c:v>16384</c:v>
                </c:pt>
                <c:pt idx="1216">
                  <c:v>16385</c:v>
                </c:pt>
                <c:pt idx="1217">
                  <c:v>16386</c:v>
                </c:pt>
                <c:pt idx="1218">
                  <c:v>16387</c:v>
                </c:pt>
                <c:pt idx="1219">
                  <c:v>16388</c:v>
                </c:pt>
                <c:pt idx="1220">
                  <c:v>16391</c:v>
                </c:pt>
                <c:pt idx="1221">
                  <c:v>16392</c:v>
                </c:pt>
                <c:pt idx="1222">
                  <c:v>16393</c:v>
                </c:pt>
                <c:pt idx="1223">
                  <c:v>16394</c:v>
                </c:pt>
                <c:pt idx="1224">
                  <c:v>16395</c:v>
                </c:pt>
                <c:pt idx="1225">
                  <c:v>16398</c:v>
                </c:pt>
                <c:pt idx="1226">
                  <c:v>16399</c:v>
                </c:pt>
                <c:pt idx="1227">
                  <c:v>16400</c:v>
                </c:pt>
                <c:pt idx="1228">
                  <c:v>16401</c:v>
                </c:pt>
                <c:pt idx="1229">
                  <c:v>16402</c:v>
                </c:pt>
                <c:pt idx="1230">
                  <c:v>16405</c:v>
                </c:pt>
                <c:pt idx="1231">
                  <c:v>16406</c:v>
                </c:pt>
                <c:pt idx="1232">
                  <c:v>16407</c:v>
                </c:pt>
                <c:pt idx="1233">
                  <c:v>16408</c:v>
                </c:pt>
                <c:pt idx="1234">
                  <c:v>16409</c:v>
                </c:pt>
                <c:pt idx="1235">
                  <c:v>16412</c:v>
                </c:pt>
                <c:pt idx="1236">
                  <c:v>16413</c:v>
                </c:pt>
                <c:pt idx="1237">
                  <c:v>16414</c:v>
                </c:pt>
                <c:pt idx="1238">
                  <c:v>16415</c:v>
                </c:pt>
                <c:pt idx="1239">
                  <c:v>16416</c:v>
                </c:pt>
                <c:pt idx="1240">
                  <c:v>16419</c:v>
                </c:pt>
                <c:pt idx="1241">
                  <c:v>16420</c:v>
                </c:pt>
                <c:pt idx="1242">
                  <c:v>16421</c:v>
                </c:pt>
                <c:pt idx="1243">
                  <c:v>16422</c:v>
                </c:pt>
                <c:pt idx="1244">
                  <c:v>16423</c:v>
                </c:pt>
                <c:pt idx="1245">
                  <c:v>16426</c:v>
                </c:pt>
                <c:pt idx="1246">
                  <c:v>16427</c:v>
                </c:pt>
                <c:pt idx="1247">
                  <c:v>16433</c:v>
                </c:pt>
                <c:pt idx="1248">
                  <c:v>16434</c:v>
                </c:pt>
                <c:pt idx="1249">
                  <c:v>16435</c:v>
                </c:pt>
                <c:pt idx="1250">
                  <c:v>16436</c:v>
                </c:pt>
                <c:pt idx="1251">
                  <c:v>16440</c:v>
                </c:pt>
                <c:pt idx="1252">
                  <c:v>16441</c:v>
                </c:pt>
                <c:pt idx="1253">
                  <c:v>16442</c:v>
                </c:pt>
                <c:pt idx="1254">
                  <c:v>16443</c:v>
                </c:pt>
                <c:pt idx="1255">
                  <c:v>16444</c:v>
                </c:pt>
                <c:pt idx="1256">
                  <c:v>16447</c:v>
                </c:pt>
                <c:pt idx="1257">
                  <c:v>16448</c:v>
                </c:pt>
                <c:pt idx="1258">
                  <c:v>16449</c:v>
                </c:pt>
                <c:pt idx="1259">
                  <c:v>16450</c:v>
                </c:pt>
                <c:pt idx="1260">
                  <c:v>16451</c:v>
                </c:pt>
                <c:pt idx="1261">
                  <c:v>16454</c:v>
                </c:pt>
                <c:pt idx="1262">
                  <c:v>16455</c:v>
                </c:pt>
                <c:pt idx="1263">
                  <c:v>16456</c:v>
                </c:pt>
                <c:pt idx="1264">
                  <c:v>16457</c:v>
                </c:pt>
                <c:pt idx="1265">
                  <c:v>16458</c:v>
                </c:pt>
                <c:pt idx="1266">
                  <c:v>16461</c:v>
                </c:pt>
                <c:pt idx="1267">
                  <c:v>16462</c:v>
                </c:pt>
                <c:pt idx="1268">
                  <c:v>16463</c:v>
                </c:pt>
                <c:pt idx="1269">
                  <c:v>16464</c:v>
                </c:pt>
                <c:pt idx="1270">
                  <c:v>16465</c:v>
                </c:pt>
                <c:pt idx="1271">
                  <c:v>16468</c:v>
                </c:pt>
                <c:pt idx="1272">
                  <c:v>16469</c:v>
                </c:pt>
                <c:pt idx="1273">
                  <c:v>16470</c:v>
                </c:pt>
                <c:pt idx="1274">
                  <c:v>16471</c:v>
                </c:pt>
                <c:pt idx="1275">
                  <c:v>16472</c:v>
                </c:pt>
                <c:pt idx="1276">
                  <c:v>16475</c:v>
                </c:pt>
                <c:pt idx="1277">
                  <c:v>16476</c:v>
                </c:pt>
                <c:pt idx="1278">
                  <c:v>16477</c:v>
                </c:pt>
                <c:pt idx="1279">
                  <c:v>16478</c:v>
                </c:pt>
                <c:pt idx="1280">
                  <c:v>16479</c:v>
                </c:pt>
                <c:pt idx="1281">
                  <c:v>16482</c:v>
                </c:pt>
                <c:pt idx="1282">
                  <c:v>16483</c:v>
                </c:pt>
                <c:pt idx="1283">
                  <c:v>16484</c:v>
                </c:pt>
                <c:pt idx="1284">
                  <c:v>16485</c:v>
                </c:pt>
                <c:pt idx="1285">
                  <c:v>16486</c:v>
                </c:pt>
                <c:pt idx="1286">
                  <c:v>16489</c:v>
                </c:pt>
                <c:pt idx="1287">
                  <c:v>16490</c:v>
                </c:pt>
                <c:pt idx="1288">
                  <c:v>16491</c:v>
                </c:pt>
                <c:pt idx="1289">
                  <c:v>16492</c:v>
                </c:pt>
                <c:pt idx="1290">
                  <c:v>16493</c:v>
                </c:pt>
                <c:pt idx="1291">
                  <c:v>16496</c:v>
                </c:pt>
                <c:pt idx="1292">
                  <c:v>16497</c:v>
                </c:pt>
                <c:pt idx="1293">
                  <c:v>16498</c:v>
                </c:pt>
                <c:pt idx="1294">
                  <c:v>16499</c:v>
                </c:pt>
                <c:pt idx="1295">
                  <c:v>16500</c:v>
                </c:pt>
                <c:pt idx="1296">
                  <c:v>16503</c:v>
                </c:pt>
                <c:pt idx="1297">
                  <c:v>16504</c:v>
                </c:pt>
                <c:pt idx="1298">
                  <c:v>16505</c:v>
                </c:pt>
                <c:pt idx="1299">
                  <c:v>16506</c:v>
                </c:pt>
                <c:pt idx="1300">
                  <c:v>16507</c:v>
                </c:pt>
                <c:pt idx="1301">
                  <c:v>16510</c:v>
                </c:pt>
                <c:pt idx="1302">
                  <c:v>16511</c:v>
                </c:pt>
                <c:pt idx="1303">
                  <c:v>16512</c:v>
                </c:pt>
                <c:pt idx="1304">
                  <c:v>16513</c:v>
                </c:pt>
                <c:pt idx="1305">
                  <c:v>16514</c:v>
                </c:pt>
                <c:pt idx="1306">
                  <c:v>16517</c:v>
                </c:pt>
                <c:pt idx="1307">
                  <c:v>16518</c:v>
                </c:pt>
                <c:pt idx="1308">
                  <c:v>16519</c:v>
                </c:pt>
                <c:pt idx="1309">
                  <c:v>16520</c:v>
                </c:pt>
                <c:pt idx="1310">
                  <c:v>16521</c:v>
                </c:pt>
                <c:pt idx="1311">
                  <c:v>16524</c:v>
                </c:pt>
                <c:pt idx="1312">
                  <c:v>16525</c:v>
                </c:pt>
                <c:pt idx="1313">
                  <c:v>16526</c:v>
                </c:pt>
                <c:pt idx="1314">
                  <c:v>16532</c:v>
                </c:pt>
                <c:pt idx="1315">
                  <c:v>16533</c:v>
                </c:pt>
                <c:pt idx="1316">
                  <c:v>16534</c:v>
                </c:pt>
                <c:pt idx="1317">
                  <c:v>16535</c:v>
                </c:pt>
                <c:pt idx="1318">
                  <c:v>16538</c:v>
                </c:pt>
                <c:pt idx="1319">
                  <c:v>16539</c:v>
                </c:pt>
                <c:pt idx="1320">
                  <c:v>16540</c:v>
                </c:pt>
                <c:pt idx="1321">
                  <c:v>16541</c:v>
                </c:pt>
                <c:pt idx="1322">
                  <c:v>16542</c:v>
                </c:pt>
                <c:pt idx="1323">
                  <c:v>16545</c:v>
                </c:pt>
                <c:pt idx="1324">
                  <c:v>16546</c:v>
                </c:pt>
                <c:pt idx="1325">
                  <c:v>16547</c:v>
                </c:pt>
                <c:pt idx="1326">
                  <c:v>16549</c:v>
                </c:pt>
                <c:pt idx="1327">
                  <c:v>16552</c:v>
                </c:pt>
                <c:pt idx="1328">
                  <c:v>16553</c:v>
                </c:pt>
                <c:pt idx="1329">
                  <c:v>16554</c:v>
                </c:pt>
                <c:pt idx="1330">
                  <c:v>16555</c:v>
                </c:pt>
                <c:pt idx="1331">
                  <c:v>16559</c:v>
                </c:pt>
                <c:pt idx="1332">
                  <c:v>16560</c:v>
                </c:pt>
                <c:pt idx="1333">
                  <c:v>16561</c:v>
                </c:pt>
                <c:pt idx="1334">
                  <c:v>16562</c:v>
                </c:pt>
                <c:pt idx="1335">
                  <c:v>16563</c:v>
                </c:pt>
                <c:pt idx="1336">
                  <c:v>16566</c:v>
                </c:pt>
                <c:pt idx="1337">
                  <c:v>16567</c:v>
                </c:pt>
                <c:pt idx="1338">
                  <c:v>16568</c:v>
                </c:pt>
                <c:pt idx="1339">
                  <c:v>16570</c:v>
                </c:pt>
                <c:pt idx="1340">
                  <c:v>16573</c:v>
                </c:pt>
                <c:pt idx="1341">
                  <c:v>16574</c:v>
                </c:pt>
                <c:pt idx="1342">
                  <c:v>16575</c:v>
                </c:pt>
                <c:pt idx="1343">
                  <c:v>16576</c:v>
                </c:pt>
                <c:pt idx="1344">
                  <c:v>16577</c:v>
                </c:pt>
                <c:pt idx="1345">
                  <c:v>16581</c:v>
                </c:pt>
                <c:pt idx="1346">
                  <c:v>16582</c:v>
                </c:pt>
                <c:pt idx="1347">
                  <c:v>16583</c:v>
                </c:pt>
                <c:pt idx="1348">
                  <c:v>16584</c:v>
                </c:pt>
                <c:pt idx="1349">
                  <c:v>16587</c:v>
                </c:pt>
                <c:pt idx="1350">
                  <c:v>16588</c:v>
                </c:pt>
                <c:pt idx="1351">
                  <c:v>16589</c:v>
                </c:pt>
                <c:pt idx="1352">
                  <c:v>16590</c:v>
                </c:pt>
                <c:pt idx="1353">
                  <c:v>16591</c:v>
                </c:pt>
                <c:pt idx="1354">
                  <c:v>16594</c:v>
                </c:pt>
                <c:pt idx="1355">
                  <c:v>16595</c:v>
                </c:pt>
                <c:pt idx="1356">
                  <c:v>16596</c:v>
                </c:pt>
                <c:pt idx="1357">
                  <c:v>16597</c:v>
                </c:pt>
                <c:pt idx="1358">
                  <c:v>16598</c:v>
                </c:pt>
                <c:pt idx="1359">
                  <c:v>16601</c:v>
                </c:pt>
                <c:pt idx="1360">
                  <c:v>16602</c:v>
                </c:pt>
                <c:pt idx="1361">
                  <c:v>16604</c:v>
                </c:pt>
                <c:pt idx="1362">
                  <c:v>16605</c:v>
                </c:pt>
                <c:pt idx="1363">
                  <c:v>16608</c:v>
                </c:pt>
                <c:pt idx="1364">
                  <c:v>16609</c:v>
                </c:pt>
                <c:pt idx="1365">
                  <c:v>16610</c:v>
                </c:pt>
                <c:pt idx="1366">
                  <c:v>16611</c:v>
                </c:pt>
                <c:pt idx="1367">
                  <c:v>16612</c:v>
                </c:pt>
                <c:pt idx="1368">
                  <c:v>16615</c:v>
                </c:pt>
                <c:pt idx="1369">
                  <c:v>16616</c:v>
                </c:pt>
                <c:pt idx="1370">
                  <c:v>16617</c:v>
                </c:pt>
                <c:pt idx="1371">
                  <c:v>16618</c:v>
                </c:pt>
                <c:pt idx="1372">
                  <c:v>16619</c:v>
                </c:pt>
                <c:pt idx="1373">
                  <c:v>16622</c:v>
                </c:pt>
                <c:pt idx="1374">
                  <c:v>16623</c:v>
                </c:pt>
                <c:pt idx="1375">
                  <c:v>16624</c:v>
                </c:pt>
                <c:pt idx="1376">
                  <c:v>16625</c:v>
                </c:pt>
                <c:pt idx="1377">
                  <c:v>16626</c:v>
                </c:pt>
                <c:pt idx="1378">
                  <c:v>16629</c:v>
                </c:pt>
                <c:pt idx="1379">
                  <c:v>16630</c:v>
                </c:pt>
                <c:pt idx="1380">
                  <c:v>16631</c:v>
                </c:pt>
                <c:pt idx="1381">
                  <c:v>16632</c:v>
                </c:pt>
                <c:pt idx="1382">
                  <c:v>16633</c:v>
                </c:pt>
                <c:pt idx="1383">
                  <c:v>16636</c:v>
                </c:pt>
                <c:pt idx="1384">
                  <c:v>16637</c:v>
                </c:pt>
                <c:pt idx="1385">
                  <c:v>16638</c:v>
                </c:pt>
                <c:pt idx="1386">
                  <c:v>16639</c:v>
                </c:pt>
                <c:pt idx="1387">
                  <c:v>16640</c:v>
                </c:pt>
                <c:pt idx="1388">
                  <c:v>16643</c:v>
                </c:pt>
                <c:pt idx="1389">
                  <c:v>16644</c:v>
                </c:pt>
                <c:pt idx="1390">
                  <c:v>16645</c:v>
                </c:pt>
                <c:pt idx="1391">
                  <c:v>16646</c:v>
                </c:pt>
                <c:pt idx="1392">
                  <c:v>16647</c:v>
                </c:pt>
                <c:pt idx="1393">
                  <c:v>16651</c:v>
                </c:pt>
                <c:pt idx="1394">
                  <c:v>16652</c:v>
                </c:pt>
                <c:pt idx="1395">
                  <c:v>16653</c:v>
                </c:pt>
                <c:pt idx="1396">
                  <c:v>16654</c:v>
                </c:pt>
                <c:pt idx="1397">
                  <c:v>16657</c:v>
                </c:pt>
                <c:pt idx="1398">
                  <c:v>16658</c:v>
                </c:pt>
                <c:pt idx="1399">
                  <c:v>16659</c:v>
                </c:pt>
                <c:pt idx="1400">
                  <c:v>16660</c:v>
                </c:pt>
                <c:pt idx="1401">
                  <c:v>16661</c:v>
                </c:pt>
                <c:pt idx="1402">
                  <c:v>16664</c:v>
                </c:pt>
                <c:pt idx="1403">
                  <c:v>16665</c:v>
                </c:pt>
                <c:pt idx="1404">
                  <c:v>16666</c:v>
                </c:pt>
                <c:pt idx="1405">
                  <c:v>16667</c:v>
                </c:pt>
                <c:pt idx="1406">
                  <c:v>16668</c:v>
                </c:pt>
                <c:pt idx="1407">
                  <c:v>16671</c:v>
                </c:pt>
                <c:pt idx="1408">
                  <c:v>16672</c:v>
                </c:pt>
                <c:pt idx="1409">
                  <c:v>16673</c:v>
                </c:pt>
                <c:pt idx="1410">
                  <c:v>16674</c:v>
                </c:pt>
                <c:pt idx="1411">
                  <c:v>16675</c:v>
                </c:pt>
                <c:pt idx="1412">
                  <c:v>16678</c:v>
                </c:pt>
                <c:pt idx="1413">
                  <c:v>16679</c:v>
                </c:pt>
                <c:pt idx="1414">
                  <c:v>16680</c:v>
                </c:pt>
                <c:pt idx="1415">
                  <c:v>16681</c:v>
                </c:pt>
                <c:pt idx="1416">
                  <c:v>16682</c:v>
                </c:pt>
                <c:pt idx="1417">
                  <c:v>16685</c:v>
                </c:pt>
                <c:pt idx="1418">
                  <c:v>16686</c:v>
                </c:pt>
                <c:pt idx="1419">
                  <c:v>16687</c:v>
                </c:pt>
                <c:pt idx="1420">
                  <c:v>16688</c:v>
                </c:pt>
                <c:pt idx="1421">
                  <c:v>16689</c:v>
                </c:pt>
                <c:pt idx="1422">
                  <c:v>16692</c:v>
                </c:pt>
                <c:pt idx="1423">
                  <c:v>16693</c:v>
                </c:pt>
                <c:pt idx="1424">
                  <c:v>16694</c:v>
                </c:pt>
                <c:pt idx="1425">
                  <c:v>16695</c:v>
                </c:pt>
                <c:pt idx="1426">
                  <c:v>16696</c:v>
                </c:pt>
                <c:pt idx="1427">
                  <c:v>16699</c:v>
                </c:pt>
                <c:pt idx="1428">
                  <c:v>16700</c:v>
                </c:pt>
                <c:pt idx="1429">
                  <c:v>16701</c:v>
                </c:pt>
                <c:pt idx="1430">
                  <c:v>16702</c:v>
                </c:pt>
                <c:pt idx="1431">
                  <c:v>16703</c:v>
                </c:pt>
                <c:pt idx="1432">
                  <c:v>16706</c:v>
                </c:pt>
                <c:pt idx="1433">
                  <c:v>16707</c:v>
                </c:pt>
                <c:pt idx="1434">
                  <c:v>16708</c:v>
                </c:pt>
                <c:pt idx="1435">
                  <c:v>16709</c:v>
                </c:pt>
                <c:pt idx="1436">
                  <c:v>16710</c:v>
                </c:pt>
                <c:pt idx="1437">
                  <c:v>16713</c:v>
                </c:pt>
                <c:pt idx="1438">
                  <c:v>16714</c:v>
                </c:pt>
                <c:pt idx="1439">
                  <c:v>16715</c:v>
                </c:pt>
                <c:pt idx="1440">
                  <c:v>16716</c:v>
                </c:pt>
                <c:pt idx="1441">
                  <c:v>16717</c:v>
                </c:pt>
                <c:pt idx="1442">
                  <c:v>16720</c:v>
                </c:pt>
                <c:pt idx="1443">
                  <c:v>16721</c:v>
                </c:pt>
                <c:pt idx="1444">
                  <c:v>16722</c:v>
                </c:pt>
                <c:pt idx="1445">
                  <c:v>16723</c:v>
                </c:pt>
                <c:pt idx="1446">
                  <c:v>16724</c:v>
                </c:pt>
                <c:pt idx="1447">
                  <c:v>16727</c:v>
                </c:pt>
                <c:pt idx="1448">
                  <c:v>16728</c:v>
                </c:pt>
                <c:pt idx="1449">
                  <c:v>16729</c:v>
                </c:pt>
                <c:pt idx="1450">
                  <c:v>16730</c:v>
                </c:pt>
                <c:pt idx="1451">
                  <c:v>16731</c:v>
                </c:pt>
                <c:pt idx="1452">
                  <c:v>16734</c:v>
                </c:pt>
                <c:pt idx="1453">
                  <c:v>16735</c:v>
                </c:pt>
                <c:pt idx="1454">
                  <c:v>16736</c:v>
                </c:pt>
                <c:pt idx="1455">
                  <c:v>16737</c:v>
                </c:pt>
                <c:pt idx="1456">
                  <c:v>16738</c:v>
                </c:pt>
                <c:pt idx="1457">
                  <c:v>16741</c:v>
                </c:pt>
                <c:pt idx="1458">
                  <c:v>16742</c:v>
                </c:pt>
                <c:pt idx="1459">
                  <c:v>16743</c:v>
                </c:pt>
                <c:pt idx="1460">
                  <c:v>16744</c:v>
                </c:pt>
                <c:pt idx="1461">
                  <c:v>16745</c:v>
                </c:pt>
                <c:pt idx="1462">
                  <c:v>16748</c:v>
                </c:pt>
                <c:pt idx="1463">
                  <c:v>16749</c:v>
                </c:pt>
                <c:pt idx="1464">
                  <c:v>16750</c:v>
                </c:pt>
                <c:pt idx="1465">
                  <c:v>16751</c:v>
                </c:pt>
                <c:pt idx="1466">
                  <c:v>16752</c:v>
                </c:pt>
                <c:pt idx="1467">
                  <c:v>16755</c:v>
                </c:pt>
                <c:pt idx="1468">
                  <c:v>16756</c:v>
                </c:pt>
                <c:pt idx="1469">
                  <c:v>16757</c:v>
                </c:pt>
                <c:pt idx="1470">
                  <c:v>16758</c:v>
                </c:pt>
                <c:pt idx="1471">
                  <c:v>16759</c:v>
                </c:pt>
                <c:pt idx="1472">
                  <c:v>16762</c:v>
                </c:pt>
                <c:pt idx="1473">
                  <c:v>16763</c:v>
                </c:pt>
                <c:pt idx="1474">
                  <c:v>16764</c:v>
                </c:pt>
                <c:pt idx="1475">
                  <c:v>16765</c:v>
                </c:pt>
                <c:pt idx="1476">
                  <c:v>16766</c:v>
                </c:pt>
                <c:pt idx="1477">
                  <c:v>16769</c:v>
                </c:pt>
                <c:pt idx="1478">
                  <c:v>16770</c:v>
                </c:pt>
                <c:pt idx="1479">
                  <c:v>16771</c:v>
                </c:pt>
                <c:pt idx="1480">
                  <c:v>16772</c:v>
                </c:pt>
                <c:pt idx="1481">
                  <c:v>16773</c:v>
                </c:pt>
                <c:pt idx="1482">
                  <c:v>16776</c:v>
                </c:pt>
                <c:pt idx="1483">
                  <c:v>16777</c:v>
                </c:pt>
                <c:pt idx="1484">
                  <c:v>16778</c:v>
                </c:pt>
                <c:pt idx="1485">
                  <c:v>16779</c:v>
                </c:pt>
                <c:pt idx="1486">
                  <c:v>16780</c:v>
                </c:pt>
                <c:pt idx="1487">
                  <c:v>16783</c:v>
                </c:pt>
                <c:pt idx="1488">
                  <c:v>16784</c:v>
                </c:pt>
                <c:pt idx="1489">
                  <c:v>16785</c:v>
                </c:pt>
                <c:pt idx="1490">
                  <c:v>16786</c:v>
                </c:pt>
                <c:pt idx="1491">
                  <c:v>16787</c:v>
                </c:pt>
                <c:pt idx="1492">
                  <c:v>16790</c:v>
                </c:pt>
                <c:pt idx="1493">
                  <c:v>16791</c:v>
                </c:pt>
                <c:pt idx="1494">
                  <c:v>16792</c:v>
                </c:pt>
                <c:pt idx="1495">
                  <c:v>16797</c:v>
                </c:pt>
                <c:pt idx="1496">
                  <c:v>16798</c:v>
                </c:pt>
                <c:pt idx="1497">
                  <c:v>16799</c:v>
                </c:pt>
                <c:pt idx="1498">
                  <c:v>16800</c:v>
                </c:pt>
                <c:pt idx="1499">
                  <c:v>16801</c:v>
                </c:pt>
                <c:pt idx="1500">
                  <c:v>16804</c:v>
                </c:pt>
                <c:pt idx="1501">
                  <c:v>16805</c:v>
                </c:pt>
                <c:pt idx="1502">
                  <c:v>16806</c:v>
                </c:pt>
                <c:pt idx="1503">
                  <c:v>16807</c:v>
                </c:pt>
                <c:pt idx="1504">
                  <c:v>16808</c:v>
                </c:pt>
                <c:pt idx="1505">
                  <c:v>16811</c:v>
                </c:pt>
                <c:pt idx="1506">
                  <c:v>16812</c:v>
                </c:pt>
                <c:pt idx="1507">
                  <c:v>16813</c:v>
                </c:pt>
                <c:pt idx="1508">
                  <c:v>16814</c:v>
                </c:pt>
                <c:pt idx="1509">
                  <c:v>16815</c:v>
                </c:pt>
                <c:pt idx="1510">
                  <c:v>16818</c:v>
                </c:pt>
                <c:pt idx="1511">
                  <c:v>16819</c:v>
                </c:pt>
                <c:pt idx="1512">
                  <c:v>16820</c:v>
                </c:pt>
                <c:pt idx="1513">
                  <c:v>16821</c:v>
                </c:pt>
                <c:pt idx="1514">
                  <c:v>16822</c:v>
                </c:pt>
                <c:pt idx="1515">
                  <c:v>16825</c:v>
                </c:pt>
                <c:pt idx="1516">
                  <c:v>16826</c:v>
                </c:pt>
                <c:pt idx="1517">
                  <c:v>16827</c:v>
                </c:pt>
                <c:pt idx="1518">
                  <c:v>16828</c:v>
                </c:pt>
                <c:pt idx="1519">
                  <c:v>16829</c:v>
                </c:pt>
                <c:pt idx="1520">
                  <c:v>16832</c:v>
                </c:pt>
                <c:pt idx="1521">
                  <c:v>16833</c:v>
                </c:pt>
                <c:pt idx="1522">
                  <c:v>16834</c:v>
                </c:pt>
                <c:pt idx="1523">
                  <c:v>16835</c:v>
                </c:pt>
                <c:pt idx="1524">
                  <c:v>16836</c:v>
                </c:pt>
                <c:pt idx="1525">
                  <c:v>16839</c:v>
                </c:pt>
                <c:pt idx="1526">
                  <c:v>16840</c:v>
                </c:pt>
                <c:pt idx="1527">
                  <c:v>16841</c:v>
                </c:pt>
                <c:pt idx="1528">
                  <c:v>16842</c:v>
                </c:pt>
                <c:pt idx="1529">
                  <c:v>16843</c:v>
                </c:pt>
                <c:pt idx="1530">
                  <c:v>16846</c:v>
                </c:pt>
                <c:pt idx="1531">
                  <c:v>16847</c:v>
                </c:pt>
                <c:pt idx="1532">
                  <c:v>16848</c:v>
                </c:pt>
                <c:pt idx="1533">
                  <c:v>16849</c:v>
                </c:pt>
                <c:pt idx="1534">
                  <c:v>16850</c:v>
                </c:pt>
                <c:pt idx="1535">
                  <c:v>16853</c:v>
                </c:pt>
                <c:pt idx="1536">
                  <c:v>16854</c:v>
                </c:pt>
                <c:pt idx="1537">
                  <c:v>16855</c:v>
                </c:pt>
                <c:pt idx="1538">
                  <c:v>16856</c:v>
                </c:pt>
                <c:pt idx="1539">
                  <c:v>16857</c:v>
                </c:pt>
                <c:pt idx="1540">
                  <c:v>16860</c:v>
                </c:pt>
                <c:pt idx="1541">
                  <c:v>16861</c:v>
                </c:pt>
                <c:pt idx="1542">
                  <c:v>16862</c:v>
                </c:pt>
                <c:pt idx="1543">
                  <c:v>16863</c:v>
                </c:pt>
                <c:pt idx="1544">
                  <c:v>16864</c:v>
                </c:pt>
                <c:pt idx="1545">
                  <c:v>16867</c:v>
                </c:pt>
                <c:pt idx="1546">
                  <c:v>16868</c:v>
                </c:pt>
                <c:pt idx="1547">
                  <c:v>16869</c:v>
                </c:pt>
                <c:pt idx="1548">
                  <c:v>16870</c:v>
                </c:pt>
                <c:pt idx="1549">
                  <c:v>16871</c:v>
                </c:pt>
                <c:pt idx="1550">
                  <c:v>16874</c:v>
                </c:pt>
                <c:pt idx="1551">
                  <c:v>16875</c:v>
                </c:pt>
                <c:pt idx="1552">
                  <c:v>16876</c:v>
                </c:pt>
                <c:pt idx="1553">
                  <c:v>16877</c:v>
                </c:pt>
                <c:pt idx="1554">
                  <c:v>16878</c:v>
                </c:pt>
                <c:pt idx="1555">
                  <c:v>16881</c:v>
                </c:pt>
                <c:pt idx="1556">
                  <c:v>16882</c:v>
                </c:pt>
                <c:pt idx="1557">
                  <c:v>16883</c:v>
                </c:pt>
                <c:pt idx="1558">
                  <c:v>16889</c:v>
                </c:pt>
                <c:pt idx="1559">
                  <c:v>16890</c:v>
                </c:pt>
                <c:pt idx="1560">
                  <c:v>16891</c:v>
                </c:pt>
                <c:pt idx="1561">
                  <c:v>16892</c:v>
                </c:pt>
                <c:pt idx="1562">
                  <c:v>16895</c:v>
                </c:pt>
                <c:pt idx="1563">
                  <c:v>16896</c:v>
                </c:pt>
                <c:pt idx="1564">
                  <c:v>16897</c:v>
                </c:pt>
                <c:pt idx="1565">
                  <c:v>16898</c:v>
                </c:pt>
                <c:pt idx="1566">
                  <c:v>16899</c:v>
                </c:pt>
                <c:pt idx="1567">
                  <c:v>16902</c:v>
                </c:pt>
                <c:pt idx="1568">
                  <c:v>16903</c:v>
                </c:pt>
                <c:pt idx="1569">
                  <c:v>16904</c:v>
                </c:pt>
                <c:pt idx="1570">
                  <c:v>16905</c:v>
                </c:pt>
                <c:pt idx="1571">
                  <c:v>16906</c:v>
                </c:pt>
                <c:pt idx="1572">
                  <c:v>16909</c:v>
                </c:pt>
                <c:pt idx="1573">
                  <c:v>16910</c:v>
                </c:pt>
                <c:pt idx="1574">
                  <c:v>16911</c:v>
                </c:pt>
                <c:pt idx="1575">
                  <c:v>16913</c:v>
                </c:pt>
                <c:pt idx="1576">
                  <c:v>16916</c:v>
                </c:pt>
                <c:pt idx="1577">
                  <c:v>16917</c:v>
                </c:pt>
                <c:pt idx="1578">
                  <c:v>16918</c:v>
                </c:pt>
                <c:pt idx="1579">
                  <c:v>16919</c:v>
                </c:pt>
                <c:pt idx="1580">
                  <c:v>16920</c:v>
                </c:pt>
                <c:pt idx="1581">
                  <c:v>16923</c:v>
                </c:pt>
                <c:pt idx="1582">
                  <c:v>16924</c:v>
                </c:pt>
                <c:pt idx="1583">
                  <c:v>16925</c:v>
                </c:pt>
                <c:pt idx="1584">
                  <c:v>16927</c:v>
                </c:pt>
                <c:pt idx="1585">
                  <c:v>16930</c:v>
                </c:pt>
                <c:pt idx="1586">
                  <c:v>16931</c:v>
                </c:pt>
                <c:pt idx="1587">
                  <c:v>16932</c:v>
                </c:pt>
                <c:pt idx="1588">
                  <c:v>16933</c:v>
                </c:pt>
                <c:pt idx="1589">
                  <c:v>16934</c:v>
                </c:pt>
                <c:pt idx="1590">
                  <c:v>16938</c:v>
                </c:pt>
                <c:pt idx="1591">
                  <c:v>16939</c:v>
                </c:pt>
                <c:pt idx="1592">
                  <c:v>16940</c:v>
                </c:pt>
                <c:pt idx="1593">
                  <c:v>16941</c:v>
                </c:pt>
                <c:pt idx="1594">
                  <c:v>16944</c:v>
                </c:pt>
                <c:pt idx="1595">
                  <c:v>16945</c:v>
                </c:pt>
                <c:pt idx="1596">
                  <c:v>16946</c:v>
                </c:pt>
                <c:pt idx="1597">
                  <c:v>16947</c:v>
                </c:pt>
                <c:pt idx="1598">
                  <c:v>16948</c:v>
                </c:pt>
                <c:pt idx="1599">
                  <c:v>16951</c:v>
                </c:pt>
                <c:pt idx="1600">
                  <c:v>16952</c:v>
                </c:pt>
                <c:pt idx="1601">
                  <c:v>16953</c:v>
                </c:pt>
                <c:pt idx="1602">
                  <c:v>16954</c:v>
                </c:pt>
                <c:pt idx="1603">
                  <c:v>16955</c:v>
                </c:pt>
                <c:pt idx="1604">
                  <c:v>16958</c:v>
                </c:pt>
                <c:pt idx="1605">
                  <c:v>16959</c:v>
                </c:pt>
                <c:pt idx="1606">
                  <c:v>16960</c:v>
                </c:pt>
                <c:pt idx="1607">
                  <c:v>16961</c:v>
                </c:pt>
                <c:pt idx="1608">
                  <c:v>16962</c:v>
                </c:pt>
                <c:pt idx="1609">
                  <c:v>16965</c:v>
                </c:pt>
                <c:pt idx="1610">
                  <c:v>16966</c:v>
                </c:pt>
                <c:pt idx="1611">
                  <c:v>16967</c:v>
                </c:pt>
                <c:pt idx="1612">
                  <c:v>16968</c:v>
                </c:pt>
                <c:pt idx="1613">
                  <c:v>16972</c:v>
                </c:pt>
                <c:pt idx="1614">
                  <c:v>16973</c:v>
                </c:pt>
                <c:pt idx="1615">
                  <c:v>16974</c:v>
                </c:pt>
                <c:pt idx="1616">
                  <c:v>16975</c:v>
                </c:pt>
                <c:pt idx="1617">
                  <c:v>16976</c:v>
                </c:pt>
                <c:pt idx="1618">
                  <c:v>16979</c:v>
                </c:pt>
                <c:pt idx="1619">
                  <c:v>16980</c:v>
                </c:pt>
                <c:pt idx="1620">
                  <c:v>16981</c:v>
                </c:pt>
                <c:pt idx="1621">
                  <c:v>16982</c:v>
                </c:pt>
                <c:pt idx="1622">
                  <c:v>16983</c:v>
                </c:pt>
                <c:pt idx="1623">
                  <c:v>16986</c:v>
                </c:pt>
                <c:pt idx="1624">
                  <c:v>16987</c:v>
                </c:pt>
                <c:pt idx="1625">
                  <c:v>16988</c:v>
                </c:pt>
                <c:pt idx="1626">
                  <c:v>16989</c:v>
                </c:pt>
                <c:pt idx="1627">
                  <c:v>16990</c:v>
                </c:pt>
                <c:pt idx="1628">
                  <c:v>16993</c:v>
                </c:pt>
                <c:pt idx="1629">
                  <c:v>16994</c:v>
                </c:pt>
                <c:pt idx="1630">
                  <c:v>16995</c:v>
                </c:pt>
                <c:pt idx="1631">
                  <c:v>16996</c:v>
                </c:pt>
                <c:pt idx="1632">
                  <c:v>16997</c:v>
                </c:pt>
                <c:pt idx="1633">
                  <c:v>17000</c:v>
                </c:pt>
                <c:pt idx="1634">
                  <c:v>17001</c:v>
                </c:pt>
                <c:pt idx="1635">
                  <c:v>17002</c:v>
                </c:pt>
                <c:pt idx="1636">
                  <c:v>17003</c:v>
                </c:pt>
                <c:pt idx="1637">
                  <c:v>17004</c:v>
                </c:pt>
                <c:pt idx="1638">
                  <c:v>17007</c:v>
                </c:pt>
                <c:pt idx="1639">
                  <c:v>17008</c:v>
                </c:pt>
                <c:pt idx="1640">
                  <c:v>17009</c:v>
                </c:pt>
                <c:pt idx="1641">
                  <c:v>17010</c:v>
                </c:pt>
                <c:pt idx="1642">
                  <c:v>17011</c:v>
                </c:pt>
                <c:pt idx="1643">
                  <c:v>17015</c:v>
                </c:pt>
                <c:pt idx="1644">
                  <c:v>17016</c:v>
                </c:pt>
                <c:pt idx="1645">
                  <c:v>17017</c:v>
                </c:pt>
                <c:pt idx="1646">
                  <c:v>17018</c:v>
                </c:pt>
                <c:pt idx="1647">
                  <c:v>17021</c:v>
                </c:pt>
                <c:pt idx="1648">
                  <c:v>17022</c:v>
                </c:pt>
                <c:pt idx="1649">
                  <c:v>17023</c:v>
                </c:pt>
                <c:pt idx="1650">
                  <c:v>17024</c:v>
                </c:pt>
                <c:pt idx="1651">
                  <c:v>17025</c:v>
                </c:pt>
                <c:pt idx="1652">
                  <c:v>17028</c:v>
                </c:pt>
                <c:pt idx="1653">
                  <c:v>17029</c:v>
                </c:pt>
                <c:pt idx="1654">
                  <c:v>17030</c:v>
                </c:pt>
                <c:pt idx="1655">
                  <c:v>17031</c:v>
                </c:pt>
                <c:pt idx="1656">
                  <c:v>17032</c:v>
                </c:pt>
                <c:pt idx="1657">
                  <c:v>17035</c:v>
                </c:pt>
                <c:pt idx="1658">
                  <c:v>17036</c:v>
                </c:pt>
                <c:pt idx="1659">
                  <c:v>17037</c:v>
                </c:pt>
                <c:pt idx="1660">
                  <c:v>17038</c:v>
                </c:pt>
                <c:pt idx="1661">
                  <c:v>17039</c:v>
                </c:pt>
                <c:pt idx="1662">
                  <c:v>17042</c:v>
                </c:pt>
                <c:pt idx="1663">
                  <c:v>17043</c:v>
                </c:pt>
                <c:pt idx="1664">
                  <c:v>17044</c:v>
                </c:pt>
                <c:pt idx="1665">
                  <c:v>17045</c:v>
                </c:pt>
                <c:pt idx="1666">
                  <c:v>17046</c:v>
                </c:pt>
                <c:pt idx="1667">
                  <c:v>17049</c:v>
                </c:pt>
                <c:pt idx="1668">
                  <c:v>17050</c:v>
                </c:pt>
                <c:pt idx="1669">
                  <c:v>17051</c:v>
                </c:pt>
                <c:pt idx="1670">
                  <c:v>17052</c:v>
                </c:pt>
                <c:pt idx="1671">
                  <c:v>17053</c:v>
                </c:pt>
                <c:pt idx="1672">
                  <c:v>17056</c:v>
                </c:pt>
                <c:pt idx="1673">
                  <c:v>17057</c:v>
                </c:pt>
                <c:pt idx="1674">
                  <c:v>17058</c:v>
                </c:pt>
                <c:pt idx="1675">
                  <c:v>17059</c:v>
                </c:pt>
                <c:pt idx="1676">
                  <c:v>17060</c:v>
                </c:pt>
                <c:pt idx="1677">
                  <c:v>17063</c:v>
                </c:pt>
                <c:pt idx="1678">
                  <c:v>17064</c:v>
                </c:pt>
                <c:pt idx="1679">
                  <c:v>17065</c:v>
                </c:pt>
                <c:pt idx="1680">
                  <c:v>17066</c:v>
                </c:pt>
                <c:pt idx="1681">
                  <c:v>17067</c:v>
                </c:pt>
                <c:pt idx="1682">
                  <c:v>17070</c:v>
                </c:pt>
                <c:pt idx="1683">
                  <c:v>17071</c:v>
                </c:pt>
                <c:pt idx="1684">
                  <c:v>17072</c:v>
                </c:pt>
                <c:pt idx="1685">
                  <c:v>17073</c:v>
                </c:pt>
                <c:pt idx="1686">
                  <c:v>17074</c:v>
                </c:pt>
                <c:pt idx="1687">
                  <c:v>17077</c:v>
                </c:pt>
                <c:pt idx="1688">
                  <c:v>17078</c:v>
                </c:pt>
                <c:pt idx="1689">
                  <c:v>17079</c:v>
                </c:pt>
                <c:pt idx="1690">
                  <c:v>17080</c:v>
                </c:pt>
                <c:pt idx="1691">
                  <c:v>17081</c:v>
                </c:pt>
                <c:pt idx="1692">
                  <c:v>17084</c:v>
                </c:pt>
                <c:pt idx="1693">
                  <c:v>17085</c:v>
                </c:pt>
                <c:pt idx="1694">
                  <c:v>17086</c:v>
                </c:pt>
                <c:pt idx="1695">
                  <c:v>17087</c:v>
                </c:pt>
                <c:pt idx="1696">
                  <c:v>17088</c:v>
                </c:pt>
                <c:pt idx="1697">
                  <c:v>17091</c:v>
                </c:pt>
                <c:pt idx="1698">
                  <c:v>17092</c:v>
                </c:pt>
                <c:pt idx="1699">
                  <c:v>17093</c:v>
                </c:pt>
                <c:pt idx="1700">
                  <c:v>17094</c:v>
                </c:pt>
                <c:pt idx="1701">
                  <c:v>17095</c:v>
                </c:pt>
                <c:pt idx="1702">
                  <c:v>17098</c:v>
                </c:pt>
                <c:pt idx="1703">
                  <c:v>17099</c:v>
                </c:pt>
                <c:pt idx="1704">
                  <c:v>17100</c:v>
                </c:pt>
                <c:pt idx="1705">
                  <c:v>17101</c:v>
                </c:pt>
                <c:pt idx="1706">
                  <c:v>17102</c:v>
                </c:pt>
                <c:pt idx="1707">
                  <c:v>17105</c:v>
                </c:pt>
                <c:pt idx="1708">
                  <c:v>17106</c:v>
                </c:pt>
                <c:pt idx="1709">
                  <c:v>17107</c:v>
                </c:pt>
                <c:pt idx="1710">
                  <c:v>17108</c:v>
                </c:pt>
                <c:pt idx="1711">
                  <c:v>17109</c:v>
                </c:pt>
                <c:pt idx="1712">
                  <c:v>17112</c:v>
                </c:pt>
                <c:pt idx="1713">
                  <c:v>17113</c:v>
                </c:pt>
                <c:pt idx="1714">
                  <c:v>17114</c:v>
                </c:pt>
                <c:pt idx="1715">
                  <c:v>17115</c:v>
                </c:pt>
                <c:pt idx="1716">
                  <c:v>17116</c:v>
                </c:pt>
                <c:pt idx="1717">
                  <c:v>17119</c:v>
                </c:pt>
                <c:pt idx="1718">
                  <c:v>17120</c:v>
                </c:pt>
                <c:pt idx="1719">
                  <c:v>17121</c:v>
                </c:pt>
                <c:pt idx="1720">
                  <c:v>17122</c:v>
                </c:pt>
                <c:pt idx="1721">
                  <c:v>17123</c:v>
                </c:pt>
                <c:pt idx="1722">
                  <c:v>17126</c:v>
                </c:pt>
                <c:pt idx="1723">
                  <c:v>17127</c:v>
                </c:pt>
                <c:pt idx="1724">
                  <c:v>17128</c:v>
                </c:pt>
                <c:pt idx="1725">
                  <c:v>17129</c:v>
                </c:pt>
                <c:pt idx="1726">
                  <c:v>17130</c:v>
                </c:pt>
                <c:pt idx="1727">
                  <c:v>17133</c:v>
                </c:pt>
                <c:pt idx="1728">
                  <c:v>17134</c:v>
                </c:pt>
                <c:pt idx="1729">
                  <c:v>17135</c:v>
                </c:pt>
                <c:pt idx="1730">
                  <c:v>17136</c:v>
                </c:pt>
                <c:pt idx="1731">
                  <c:v>17137</c:v>
                </c:pt>
                <c:pt idx="1732">
                  <c:v>17140</c:v>
                </c:pt>
                <c:pt idx="1733">
                  <c:v>17141</c:v>
                </c:pt>
                <c:pt idx="1734">
                  <c:v>17142</c:v>
                </c:pt>
                <c:pt idx="1735">
                  <c:v>17143</c:v>
                </c:pt>
                <c:pt idx="1736">
                  <c:v>17144</c:v>
                </c:pt>
                <c:pt idx="1737">
                  <c:v>17147</c:v>
                </c:pt>
                <c:pt idx="1738">
                  <c:v>17148</c:v>
                </c:pt>
                <c:pt idx="1739">
                  <c:v>17149</c:v>
                </c:pt>
                <c:pt idx="1740">
                  <c:v>17150</c:v>
                </c:pt>
                <c:pt idx="1741">
                  <c:v>17151</c:v>
                </c:pt>
                <c:pt idx="1742">
                  <c:v>17154</c:v>
                </c:pt>
                <c:pt idx="1743">
                  <c:v>17155</c:v>
                </c:pt>
                <c:pt idx="1744">
                  <c:v>17156</c:v>
                </c:pt>
                <c:pt idx="1745">
                  <c:v>17157</c:v>
                </c:pt>
                <c:pt idx="1746">
                  <c:v>17158</c:v>
                </c:pt>
                <c:pt idx="1747">
                  <c:v>17162</c:v>
                </c:pt>
                <c:pt idx="1748">
                  <c:v>17163</c:v>
                </c:pt>
                <c:pt idx="1749">
                  <c:v>17164</c:v>
                </c:pt>
                <c:pt idx="1750">
                  <c:v>17165</c:v>
                </c:pt>
                <c:pt idx="1751">
                  <c:v>17168</c:v>
                </c:pt>
                <c:pt idx="1752">
                  <c:v>17169</c:v>
                </c:pt>
                <c:pt idx="1753">
                  <c:v>17170</c:v>
                </c:pt>
                <c:pt idx="1754">
                  <c:v>17171</c:v>
                </c:pt>
                <c:pt idx="1755">
                  <c:v>17172</c:v>
                </c:pt>
                <c:pt idx="1756">
                  <c:v>17175</c:v>
                </c:pt>
                <c:pt idx="1757">
                  <c:v>17176</c:v>
                </c:pt>
                <c:pt idx="1758">
                  <c:v>17177</c:v>
                </c:pt>
                <c:pt idx="1759">
                  <c:v>17178</c:v>
                </c:pt>
                <c:pt idx="1760">
                  <c:v>17179</c:v>
                </c:pt>
                <c:pt idx="1761">
                  <c:v>17182</c:v>
                </c:pt>
                <c:pt idx="1762">
                  <c:v>17183</c:v>
                </c:pt>
                <c:pt idx="1763">
                  <c:v>17184</c:v>
                </c:pt>
                <c:pt idx="1764">
                  <c:v>17185</c:v>
                </c:pt>
                <c:pt idx="1765">
                  <c:v>17186</c:v>
                </c:pt>
                <c:pt idx="1766">
                  <c:v>17189</c:v>
                </c:pt>
                <c:pt idx="1767">
                  <c:v>17190</c:v>
                </c:pt>
                <c:pt idx="1768">
                  <c:v>17191</c:v>
                </c:pt>
                <c:pt idx="1769">
                  <c:v>17192</c:v>
                </c:pt>
                <c:pt idx="1770">
                  <c:v>17193</c:v>
                </c:pt>
                <c:pt idx="1771">
                  <c:v>17196</c:v>
                </c:pt>
                <c:pt idx="1772">
                  <c:v>17197</c:v>
                </c:pt>
                <c:pt idx="1773">
                  <c:v>17198</c:v>
                </c:pt>
                <c:pt idx="1774">
                  <c:v>17199</c:v>
                </c:pt>
                <c:pt idx="1775">
                  <c:v>17200</c:v>
                </c:pt>
                <c:pt idx="1776">
                  <c:v>17203</c:v>
                </c:pt>
                <c:pt idx="1777">
                  <c:v>17204</c:v>
                </c:pt>
                <c:pt idx="1778">
                  <c:v>17205</c:v>
                </c:pt>
                <c:pt idx="1779">
                  <c:v>17206</c:v>
                </c:pt>
                <c:pt idx="1780">
                  <c:v>17207</c:v>
                </c:pt>
                <c:pt idx="1781">
                  <c:v>17210</c:v>
                </c:pt>
                <c:pt idx="1782">
                  <c:v>17211</c:v>
                </c:pt>
                <c:pt idx="1783">
                  <c:v>17212</c:v>
                </c:pt>
                <c:pt idx="1784">
                  <c:v>17213</c:v>
                </c:pt>
                <c:pt idx="1785">
                  <c:v>17214</c:v>
                </c:pt>
                <c:pt idx="1786">
                  <c:v>17217</c:v>
                </c:pt>
                <c:pt idx="1787">
                  <c:v>17218</c:v>
                </c:pt>
                <c:pt idx="1788">
                  <c:v>17219</c:v>
                </c:pt>
                <c:pt idx="1789">
                  <c:v>17220</c:v>
                </c:pt>
                <c:pt idx="1790">
                  <c:v>17221</c:v>
                </c:pt>
                <c:pt idx="1791">
                  <c:v>17224</c:v>
                </c:pt>
                <c:pt idx="1792">
                  <c:v>17225</c:v>
                </c:pt>
                <c:pt idx="1793">
                  <c:v>17226</c:v>
                </c:pt>
                <c:pt idx="1794">
                  <c:v>17227</c:v>
                </c:pt>
                <c:pt idx="1795">
                  <c:v>17228</c:v>
                </c:pt>
                <c:pt idx="1796">
                  <c:v>17231</c:v>
                </c:pt>
                <c:pt idx="1797">
                  <c:v>17232</c:v>
                </c:pt>
                <c:pt idx="1798">
                  <c:v>17233</c:v>
                </c:pt>
                <c:pt idx="1799">
                  <c:v>17234</c:v>
                </c:pt>
                <c:pt idx="1800">
                  <c:v>17235</c:v>
                </c:pt>
                <c:pt idx="1801">
                  <c:v>17238</c:v>
                </c:pt>
                <c:pt idx="1802">
                  <c:v>17239</c:v>
                </c:pt>
                <c:pt idx="1803">
                  <c:v>17240</c:v>
                </c:pt>
                <c:pt idx="1804">
                  <c:v>17241</c:v>
                </c:pt>
                <c:pt idx="1805">
                  <c:v>17242</c:v>
                </c:pt>
                <c:pt idx="1806">
                  <c:v>17245</c:v>
                </c:pt>
                <c:pt idx="1807">
                  <c:v>17246</c:v>
                </c:pt>
                <c:pt idx="1808">
                  <c:v>17247</c:v>
                </c:pt>
                <c:pt idx="1809">
                  <c:v>17248</c:v>
                </c:pt>
                <c:pt idx="1810">
                  <c:v>17249</c:v>
                </c:pt>
                <c:pt idx="1811">
                  <c:v>17252</c:v>
                </c:pt>
                <c:pt idx="1812">
                  <c:v>17253</c:v>
                </c:pt>
                <c:pt idx="1813">
                  <c:v>17254</c:v>
                </c:pt>
                <c:pt idx="1814">
                  <c:v>17255</c:v>
                </c:pt>
                <c:pt idx="1815">
                  <c:v>17256</c:v>
                </c:pt>
                <c:pt idx="1816">
                  <c:v>17259</c:v>
                </c:pt>
                <c:pt idx="1817">
                  <c:v>17260</c:v>
                </c:pt>
                <c:pt idx="1818">
                  <c:v>17261</c:v>
                </c:pt>
                <c:pt idx="1819">
                  <c:v>17262</c:v>
                </c:pt>
                <c:pt idx="1820">
                  <c:v>17263</c:v>
                </c:pt>
                <c:pt idx="1821">
                  <c:v>17266</c:v>
                </c:pt>
                <c:pt idx="1822">
                  <c:v>17267</c:v>
                </c:pt>
                <c:pt idx="1823">
                  <c:v>17268</c:v>
                </c:pt>
                <c:pt idx="1824">
                  <c:v>17274</c:v>
                </c:pt>
                <c:pt idx="1825">
                  <c:v>17275</c:v>
                </c:pt>
                <c:pt idx="1826">
                  <c:v>17277</c:v>
                </c:pt>
                <c:pt idx="1827">
                  <c:v>17280</c:v>
                </c:pt>
                <c:pt idx="1828">
                  <c:v>17281</c:v>
                </c:pt>
                <c:pt idx="1829">
                  <c:v>17282</c:v>
                </c:pt>
                <c:pt idx="1830">
                  <c:v>17283</c:v>
                </c:pt>
                <c:pt idx="1831">
                  <c:v>17284</c:v>
                </c:pt>
                <c:pt idx="1832">
                  <c:v>17288</c:v>
                </c:pt>
                <c:pt idx="1833">
                  <c:v>17289</c:v>
                </c:pt>
                <c:pt idx="1834">
                  <c:v>17290</c:v>
                </c:pt>
                <c:pt idx="1835">
                  <c:v>17291</c:v>
                </c:pt>
                <c:pt idx="1836">
                  <c:v>17294</c:v>
                </c:pt>
                <c:pt idx="1837">
                  <c:v>17295</c:v>
                </c:pt>
                <c:pt idx="1838">
                  <c:v>17296</c:v>
                </c:pt>
                <c:pt idx="1839">
                  <c:v>17297</c:v>
                </c:pt>
                <c:pt idx="1840">
                  <c:v>17298</c:v>
                </c:pt>
                <c:pt idx="1841">
                  <c:v>17301</c:v>
                </c:pt>
                <c:pt idx="1842">
                  <c:v>17302</c:v>
                </c:pt>
                <c:pt idx="1843">
                  <c:v>17303</c:v>
                </c:pt>
                <c:pt idx="1844">
                  <c:v>17304</c:v>
                </c:pt>
                <c:pt idx="1845">
                  <c:v>17305</c:v>
                </c:pt>
                <c:pt idx="1846">
                  <c:v>17308</c:v>
                </c:pt>
                <c:pt idx="1847">
                  <c:v>17309</c:v>
                </c:pt>
                <c:pt idx="1848">
                  <c:v>17310</c:v>
                </c:pt>
                <c:pt idx="1849">
                  <c:v>17311</c:v>
                </c:pt>
                <c:pt idx="1850">
                  <c:v>17312</c:v>
                </c:pt>
                <c:pt idx="1851">
                  <c:v>17315</c:v>
                </c:pt>
                <c:pt idx="1852">
                  <c:v>17316</c:v>
                </c:pt>
                <c:pt idx="1853">
                  <c:v>17317</c:v>
                </c:pt>
                <c:pt idx="1854">
                  <c:v>17318</c:v>
                </c:pt>
                <c:pt idx="1855">
                  <c:v>17319</c:v>
                </c:pt>
                <c:pt idx="1856">
                  <c:v>17323</c:v>
                </c:pt>
                <c:pt idx="1857">
                  <c:v>17324</c:v>
                </c:pt>
                <c:pt idx="1858">
                  <c:v>17325</c:v>
                </c:pt>
                <c:pt idx="1859">
                  <c:v>17326</c:v>
                </c:pt>
                <c:pt idx="1860">
                  <c:v>17329</c:v>
                </c:pt>
                <c:pt idx="1861">
                  <c:v>17330</c:v>
                </c:pt>
                <c:pt idx="1862">
                  <c:v>17331</c:v>
                </c:pt>
                <c:pt idx="1863">
                  <c:v>17332</c:v>
                </c:pt>
                <c:pt idx="1864">
                  <c:v>17333</c:v>
                </c:pt>
                <c:pt idx="1865">
                  <c:v>17336</c:v>
                </c:pt>
                <c:pt idx="1866">
                  <c:v>17337</c:v>
                </c:pt>
                <c:pt idx="1867">
                  <c:v>17338</c:v>
                </c:pt>
                <c:pt idx="1868">
                  <c:v>17339</c:v>
                </c:pt>
                <c:pt idx="1869">
                  <c:v>17340</c:v>
                </c:pt>
                <c:pt idx="1870">
                  <c:v>17343</c:v>
                </c:pt>
                <c:pt idx="1871">
                  <c:v>17344</c:v>
                </c:pt>
                <c:pt idx="1872">
                  <c:v>17345</c:v>
                </c:pt>
                <c:pt idx="1873">
                  <c:v>17346</c:v>
                </c:pt>
                <c:pt idx="1874">
                  <c:v>17347</c:v>
                </c:pt>
                <c:pt idx="1875">
                  <c:v>17350</c:v>
                </c:pt>
                <c:pt idx="1876">
                  <c:v>17351</c:v>
                </c:pt>
                <c:pt idx="1877">
                  <c:v>17352</c:v>
                </c:pt>
                <c:pt idx="1878">
                  <c:v>17353</c:v>
                </c:pt>
                <c:pt idx="1879">
                  <c:v>17354</c:v>
                </c:pt>
                <c:pt idx="1880">
                  <c:v>17357</c:v>
                </c:pt>
                <c:pt idx="1881">
                  <c:v>17358</c:v>
                </c:pt>
                <c:pt idx="1882">
                  <c:v>17359</c:v>
                </c:pt>
                <c:pt idx="1883">
                  <c:v>17360</c:v>
                </c:pt>
                <c:pt idx="1884">
                  <c:v>17361</c:v>
                </c:pt>
                <c:pt idx="1885">
                  <c:v>17364</c:v>
                </c:pt>
                <c:pt idx="1886">
                  <c:v>17365</c:v>
                </c:pt>
                <c:pt idx="1887">
                  <c:v>17366</c:v>
                </c:pt>
                <c:pt idx="1888">
                  <c:v>17367</c:v>
                </c:pt>
                <c:pt idx="1889">
                  <c:v>17368</c:v>
                </c:pt>
                <c:pt idx="1890">
                  <c:v>17371</c:v>
                </c:pt>
                <c:pt idx="1891">
                  <c:v>17372</c:v>
                </c:pt>
                <c:pt idx="1892">
                  <c:v>17373</c:v>
                </c:pt>
                <c:pt idx="1893">
                  <c:v>17374</c:v>
                </c:pt>
                <c:pt idx="1894">
                  <c:v>17375</c:v>
                </c:pt>
                <c:pt idx="1895">
                  <c:v>17378</c:v>
                </c:pt>
                <c:pt idx="1896">
                  <c:v>17379</c:v>
                </c:pt>
                <c:pt idx="1897">
                  <c:v>17380</c:v>
                </c:pt>
                <c:pt idx="1898">
                  <c:v>17381</c:v>
                </c:pt>
                <c:pt idx="1899">
                  <c:v>17382</c:v>
                </c:pt>
                <c:pt idx="1900">
                  <c:v>17386</c:v>
                </c:pt>
                <c:pt idx="1901">
                  <c:v>17387</c:v>
                </c:pt>
                <c:pt idx="1902">
                  <c:v>17388</c:v>
                </c:pt>
                <c:pt idx="1903">
                  <c:v>17389</c:v>
                </c:pt>
                <c:pt idx="1904">
                  <c:v>17392</c:v>
                </c:pt>
                <c:pt idx="1905">
                  <c:v>17393</c:v>
                </c:pt>
                <c:pt idx="1906">
                  <c:v>17394</c:v>
                </c:pt>
                <c:pt idx="1907">
                  <c:v>17395</c:v>
                </c:pt>
                <c:pt idx="1908">
                  <c:v>17396</c:v>
                </c:pt>
                <c:pt idx="1909">
                  <c:v>17399</c:v>
                </c:pt>
                <c:pt idx="1910">
                  <c:v>17400</c:v>
                </c:pt>
                <c:pt idx="1911">
                  <c:v>17401</c:v>
                </c:pt>
                <c:pt idx="1912">
                  <c:v>17402</c:v>
                </c:pt>
                <c:pt idx="1913">
                  <c:v>17403</c:v>
                </c:pt>
                <c:pt idx="1914">
                  <c:v>17406</c:v>
                </c:pt>
                <c:pt idx="1915">
                  <c:v>17407</c:v>
                </c:pt>
                <c:pt idx="1916">
                  <c:v>17408</c:v>
                </c:pt>
                <c:pt idx="1917">
                  <c:v>17409</c:v>
                </c:pt>
                <c:pt idx="1918">
                  <c:v>17410</c:v>
                </c:pt>
                <c:pt idx="1919">
                  <c:v>17413</c:v>
                </c:pt>
                <c:pt idx="1920">
                  <c:v>17414</c:v>
                </c:pt>
                <c:pt idx="1921">
                  <c:v>17415</c:v>
                </c:pt>
                <c:pt idx="1922">
                  <c:v>17416</c:v>
                </c:pt>
                <c:pt idx="1923">
                  <c:v>17417</c:v>
                </c:pt>
                <c:pt idx="1924">
                  <c:v>17420</c:v>
                </c:pt>
                <c:pt idx="1925">
                  <c:v>17421</c:v>
                </c:pt>
                <c:pt idx="1926">
                  <c:v>17422</c:v>
                </c:pt>
                <c:pt idx="1927">
                  <c:v>17423</c:v>
                </c:pt>
                <c:pt idx="1928">
                  <c:v>17424</c:v>
                </c:pt>
                <c:pt idx="1929">
                  <c:v>17427</c:v>
                </c:pt>
                <c:pt idx="1930">
                  <c:v>17428</c:v>
                </c:pt>
                <c:pt idx="1931">
                  <c:v>17429</c:v>
                </c:pt>
                <c:pt idx="1932">
                  <c:v>17430</c:v>
                </c:pt>
                <c:pt idx="1933">
                  <c:v>17431</c:v>
                </c:pt>
                <c:pt idx="1934">
                  <c:v>17434</c:v>
                </c:pt>
                <c:pt idx="1935">
                  <c:v>17435</c:v>
                </c:pt>
                <c:pt idx="1936">
                  <c:v>17436</c:v>
                </c:pt>
                <c:pt idx="1937">
                  <c:v>17437</c:v>
                </c:pt>
                <c:pt idx="1938">
                  <c:v>17438</c:v>
                </c:pt>
                <c:pt idx="1939">
                  <c:v>17441</c:v>
                </c:pt>
                <c:pt idx="1940">
                  <c:v>17442</c:v>
                </c:pt>
                <c:pt idx="1941">
                  <c:v>17443</c:v>
                </c:pt>
                <c:pt idx="1942">
                  <c:v>17444</c:v>
                </c:pt>
                <c:pt idx="1943">
                  <c:v>17445</c:v>
                </c:pt>
                <c:pt idx="1944">
                  <c:v>17448</c:v>
                </c:pt>
                <c:pt idx="1945">
                  <c:v>17449</c:v>
                </c:pt>
                <c:pt idx="1946">
                  <c:v>17450</c:v>
                </c:pt>
                <c:pt idx="1947">
                  <c:v>17451</c:v>
                </c:pt>
                <c:pt idx="1948">
                  <c:v>17452</c:v>
                </c:pt>
                <c:pt idx="1949">
                  <c:v>17455</c:v>
                </c:pt>
                <c:pt idx="1950">
                  <c:v>17456</c:v>
                </c:pt>
                <c:pt idx="1951">
                  <c:v>17457</c:v>
                </c:pt>
                <c:pt idx="1952">
                  <c:v>17458</c:v>
                </c:pt>
                <c:pt idx="1953">
                  <c:v>17459</c:v>
                </c:pt>
                <c:pt idx="1954">
                  <c:v>17462</c:v>
                </c:pt>
                <c:pt idx="1955">
                  <c:v>17463</c:v>
                </c:pt>
                <c:pt idx="1956">
                  <c:v>17464</c:v>
                </c:pt>
                <c:pt idx="1957">
                  <c:v>17465</c:v>
                </c:pt>
                <c:pt idx="1958">
                  <c:v>17466</c:v>
                </c:pt>
                <c:pt idx="1959">
                  <c:v>17469</c:v>
                </c:pt>
                <c:pt idx="1960">
                  <c:v>17470</c:v>
                </c:pt>
                <c:pt idx="1961">
                  <c:v>17471</c:v>
                </c:pt>
                <c:pt idx="1962">
                  <c:v>17472</c:v>
                </c:pt>
                <c:pt idx="1963">
                  <c:v>17473</c:v>
                </c:pt>
                <c:pt idx="1964">
                  <c:v>17476</c:v>
                </c:pt>
                <c:pt idx="1965">
                  <c:v>17477</c:v>
                </c:pt>
                <c:pt idx="1966">
                  <c:v>17478</c:v>
                </c:pt>
                <c:pt idx="1967">
                  <c:v>17479</c:v>
                </c:pt>
                <c:pt idx="1968">
                  <c:v>17480</c:v>
                </c:pt>
                <c:pt idx="1969">
                  <c:v>17483</c:v>
                </c:pt>
                <c:pt idx="1970">
                  <c:v>17484</c:v>
                </c:pt>
                <c:pt idx="1971">
                  <c:v>17485</c:v>
                </c:pt>
                <c:pt idx="1972">
                  <c:v>17486</c:v>
                </c:pt>
                <c:pt idx="1973">
                  <c:v>17487</c:v>
                </c:pt>
                <c:pt idx="1974">
                  <c:v>17490</c:v>
                </c:pt>
                <c:pt idx="1975">
                  <c:v>17491</c:v>
                </c:pt>
                <c:pt idx="1976">
                  <c:v>17492</c:v>
                </c:pt>
                <c:pt idx="1977">
                  <c:v>17493</c:v>
                </c:pt>
                <c:pt idx="1978">
                  <c:v>17494</c:v>
                </c:pt>
                <c:pt idx="1979">
                  <c:v>17497</c:v>
                </c:pt>
                <c:pt idx="1980">
                  <c:v>17498</c:v>
                </c:pt>
                <c:pt idx="1981">
                  <c:v>17499</c:v>
                </c:pt>
                <c:pt idx="1982">
                  <c:v>17500</c:v>
                </c:pt>
                <c:pt idx="1983">
                  <c:v>17501</c:v>
                </c:pt>
                <c:pt idx="1984">
                  <c:v>17504</c:v>
                </c:pt>
                <c:pt idx="1985">
                  <c:v>17505</c:v>
                </c:pt>
                <c:pt idx="1986">
                  <c:v>17506</c:v>
                </c:pt>
                <c:pt idx="1987">
                  <c:v>17507</c:v>
                </c:pt>
                <c:pt idx="1988">
                  <c:v>17508</c:v>
                </c:pt>
                <c:pt idx="1989">
                  <c:v>17511</c:v>
                </c:pt>
                <c:pt idx="1990">
                  <c:v>17512</c:v>
                </c:pt>
                <c:pt idx="1991">
                  <c:v>17513</c:v>
                </c:pt>
                <c:pt idx="1992">
                  <c:v>17514</c:v>
                </c:pt>
                <c:pt idx="1993">
                  <c:v>17515</c:v>
                </c:pt>
                <c:pt idx="1994">
                  <c:v>17518</c:v>
                </c:pt>
                <c:pt idx="1995">
                  <c:v>17519</c:v>
                </c:pt>
                <c:pt idx="1996">
                  <c:v>17520</c:v>
                </c:pt>
                <c:pt idx="1997">
                  <c:v>17521</c:v>
                </c:pt>
                <c:pt idx="1998">
                  <c:v>17522</c:v>
                </c:pt>
                <c:pt idx="1999">
                  <c:v>17527</c:v>
                </c:pt>
                <c:pt idx="2000">
                  <c:v>17528</c:v>
                </c:pt>
                <c:pt idx="2001">
                  <c:v>17529</c:v>
                </c:pt>
                <c:pt idx="2002">
                  <c:v>17532</c:v>
                </c:pt>
                <c:pt idx="2003">
                  <c:v>17533</c:v>
                </c:pt>
                <c:pt idx="2004">
                  <c:v>17534</c:v>
                </c:pt>
                <c:pt idx="2005">
                  <c:v>17535</c:v>
                </c:pt>
                <c:pt idx="2006">
                  <c:v>17536</c:v>
                </c:pt>
                <c:pt idx="2007">
                  <c:v>17539</c:v>
                </c:pt>
                <c:pt idx="2008">
                  <c:v>17540</c:v>
                </c:pt>
                <c:pt idx="2009">
                  <c:v>17541</c:v>
                </c:pt>
                <c:pt idx="2010">
                  <c:v>17542</c:v>
                </c:pt>
                <c:pt idx="2011">
                  <c:v>17543</c:v>
                </c:pt>
                <c:pt idx="2012">
                  <c:v>17546</c:v>
                </c:pt>
                <c:pt idx="2013">
                  <c:v>17547</c:v>
                </c:pt>
                <c:pt idx="2014">
                  <c:v>17548</c:v>
                </c:pt>
                <c:pt idx="2015">
                  <c:v>17549</c:v>
                </c:pt>
                <c:pt idx="2016">
                  <c:v>17550</c:v>
                </c:pt>
                <c:pt idx="2017">
                  <c:v>17553</c:v>
                </c:pt>
                <c:pt idx="2018">
                  <c:v>17554</c:v>
                </c:pt>
                <c:pt idx="2019">
                  <c:v>17555</c:v>
                </c:pt>
                <c:pt idx="2020">
                  <c:v>17556</c:v>
                </c:pt>
                <c:pt idx="2021">
                  <c:v>17557</c:v>
                </c:pt>
                <c:pt idx="2022">
                  <c:v>17560</c:v>
                </c:pt>
                <c:pt idx="2023">
                  <c:v>17561</c:v>
                </c:pt>
                <c:pt idx="2024">
                  <c:v>17562</c:v>
                </c:pt>
                <c:pt idx="2025">
                  <c:v>17563</c:v>
                </c:pt>
                <c:pt idx="2026">
                  <c:v>17564</c:v>
                </c:pt>
                <c:pt idx="2027">
                  <c:v>17567</c:v>
                </c:pt>
                <c:pt idx="2028">
                  <c:v>17568</c:v>
                </c:pt>
                <c:pt idx="2029">
                  <c:v>17569</c:v>
                </c:pt>
                <c:pt idx="2030">
                  <c:v>17570</c:v>
                </c:pt>
                <c:pt idx="2031">
                  <c:v>17571</c:v>
                </c:pt>
                <c:pt idx="2032">
                  <c:v>17574</c:v>
                </c:pt>
                <c:pt idx="2033">
                  <c:v>17575</c:v>
                </c:pt>
                <c:pt idx="2034">
                  <c:v>17576</c:v>
                </c:pt>
                <c:pt idx="2035">
                  <c:v>17577</c:v>
                </c:pt>
                <c:pt idx="2036">
                  <c:v>17578</c:v>
                </c:pt>
                <c:pt idx="2037">
                  <c:v>17581</c:v>
                </c:pt>
                <c:pt idx="2038">
                  <c:v>17582</c:v>
                </c:pt>
                <c:pt idx="2039">
                  <c:v>17583</c:v>
                </c:pt>
                <c:pt idx="2040">
                  <c:v>17584</c:v>
                </c:pt>
                <c:pt idx="2041">
                  <c:v>17585</c:v>
                </c:pt>
                <c:pt idx="2042">
                  <c:v>17588</c:v>
                </c:pt>
                <c:pt idx="2043">
                  <c:v>17589</c:v>
                </c:pt>
                <c:pt idx="2044">
                  <c:v>17590</c:v>
                </c:pt>
                <c:pt idx="2045">
                  <c:v>17591</c:v>
                </c:pt>
                <c:pt idx="2046">
                  <c:v>17592</c:v>
                </c:pt>
                <c:pt idx="2047">
                  <c:v>17595</c:v>
                </c:pt>
                <c:pt idx="2048">
                  <c:v>17596</c:v>
                </c:pt>
                <c:pt idx="2049">
                  <c:v>17597</c:v>
                </c:pt>
                <c:pt idx="2050">
                  <c:v>17598</c:v>
                </c:pt>
                <c:pt idx="2051">
                  <c:v>17599</c:v>
                </c:pt>
                <c:pt idx="2052">
                  <c:v>17602</c:v>
                </c:pt>
                <c:pt idx="2053">
                  <c:v>17603</c:v>
                </c:pt>
                <c:pt idx="2054">
                  <c:v>17604</c:v>
                </c:pt>
                <c:pt idx="2055">
                  <c:v>17605</c:v>
                </c:pt>
                <c:pt idx="2056">
                  <c:v>17606</c:v>
                </c:pt>
                <c:pt idx="2057">
                  <c:v>17609</c:v>
                </c:pt>
                <c:pt idx="2058">
                  <c:v>17610</c:v>
                </c:pt>
                <c:pt idx="2059">
                  <c:v>17611</c:v>
                </c:pt>
                <c:pt idx="2060">
                  <c:v>17612</c:v>
                </c:pt>
                <c:pt idx="2061">
                  <c:v>17613</c:v>
                </c:pt>
                <c:pt idx="2062">
                  <c:v>17616</c:v>
                </c:pt>
                <c:pt idx="2063">
                  <c:v>17617</c:v>
                </c:pt>
                <c:pt idx="2064">
                  <c:v>17618</c:v>
                </c:pt>
                <c:pt idx="2065">
                  <c:v>17624</c:v>
                </c:pt>
                <c:pt idx="2066">
                  <c:v>17625</c:v>
                </c:pt>
                <c:pt idx="2067">
                  <c:v>17626</c:v>
                </c:pt>
                <c:pt idx="2068">
                  <c:v>17627</c:v>
                </c:pt>
                <c:pt idx="2069">
                  <c:v>17630</c:v>
                </c:pt>
                <c:pt idx="2070">
                  <c:v>17631</c:v>
                </c:pt>
                <c:pt idx="2071">
                  <c:v>17632</c:v>
                </c:pt>
                <c:pt idx="2072">
                  <c:v>17633</c:v>
                </c:pt>
                <c:pt idx="2073">
                  <c:v>17634</c:v>
                </c:pt>
                <c:pt idx="2074">
                  <c:v>17637</c:v>
                </c:pt>
                <c:pt idx="2075">
                  <c:v>17638</c:v>
                </c:pt>
                <c:pt idx="2076">
                  <c:v>17639</c:v>
                </c:pt>
                <c:pt idx="2077">
                  <c:v>17641</c:v>
                </c:pt>
                <c:pt idx="2078">
                  <c:v>17644</c:v>
                </c:pt>
                <c:pt idx="2079">
                  <c:v>17645</c:v>
                </c:pt>
                <c:pt idx="2080">
                  <c:v>17646</c:v>
                </c:pt>
                <c:pt idx="2081">
                  <c:v>17647</c:v>
                </c:pt>
                <c:pt idx="2082">
                  <c:v>17648</c:v>
                </c:pt>
                <c:pt idx="2083">
                  <c:v>17651</c:v>
                </c:pt>
                <c:pt idx="2084">
                  <c:v>17653</c:v>
                </c:pt>
                <c:pt idx="2085">
                  <c:v>17654</c:v>
                </c:pt>
                <c:pt idx="2086">
                  <c:v>17655</c:v>
                </c:pt>
                <c:pt idx="2087">
                  <c:v>17658</c:v>
                </c:pt>
                <c:pt idx="2088">
                  <c:v>17659</c:v>
                </c:pt>
                <c:pt idx="2089">
                  <c:v>17660</c:v>
                </c:pt>
                <c:pt idx="2090">
                  <c:v>17662</c:v>
                </c:pt>
                <c:pt idx="2091">
                  <c:v>17665</c:v>
                </c:pt>
                <c:pt idx="2092">
                  <c:v>17666</c:v>
                </c:pt>
                <c:pt idx="2093">
                  <c:v>17667</c:v>
                </c:pt>
                <c:pt idx="2094">
                  <c:v>17668</c:v>
                </c:pt>
                <c:pt idx="2095">
                  <c:v>17669</c:v>
                </c:pt>
                <c:pt idx="2096">
                  <c:v>17673</c:v>
                </c:pt>
                <c:pt idx="2097">
                  <c:v>17674</c:v>
                </c:pt>
                <c:pt idx="2098">
                  <c:v>17675</c:v>
                </c:pt>
                <c:pt idx="2099">
                  <c:v>17676</c:v>
                </c:pt>
                <c:pt idx="2100">
                  <c:v>17679</c:v>
                </c:pt>
                <c:pt idx="2101">
                  <c:v>17680</c:v>
                </c:pt>
                <c:pt idx="2102">
                  <c:v>17681</c:v>
                </c:pt>
                <c:pt idx="2103">
                  <c:v>17682</c:v>
                </c:pt>
                <c:pt idx="2104">
                  <c:v>17683</c:v>
                </c:pt>
                <c:pt idx="2105">
                  <c:v>17686</c:v>
                </c:pt>
                <c:pt idx="2106">
                  <c:v>17687</c:v>
                </c:pt>
                <c:pt idx="2107">
                  <c:v>17688</c:v>
                </c:pt>
                <c:pt idx="2108">
                  <c:v>17689</c:v>
                </c:pt>
                <c:pt idx="2109">
                  <c:v>17690</c:v>
                </c:pt>
                <c:pt idx="2110">
                  <c:v>17693</c:v>
                </c:pt>
                <c:pt idx="2111">
                  <c:v>17694</c:v>
                </c:pt>
                <c:pt idx="2112">
                  <c:v>17695</c:v>
                </c:pt>
                <c:pt idx="2113">
                  <c:v>17696</c:v>
                </c:pt>
                <c:pt idx="2114">
                  <c:v>17697</c:v>
                </c:pt>
                <c:pt idx="2115">
                  <c:v>17700</c:v>
                </c:pt>
                <c:pt idx="2116">
                  <c:v>17701</c:v>
                </c:pt>
                <c:pt idx="2117">
                  <c:v>17702</c:v>
                </c:pt>
                <c:pt idx="2118">
                  <c:v>17703</c:v>
                </c:pt>
                <c:pt idx="2119">
                  <c:v>17704</c:v>
                </c:pt>
                <c:pt idx="2120">
                  <c:v>17707</c:v>
                </c:pt>
                <c:pt idx="2121">
                  <c:v>17708</c:v>
                </c:pt>
                <c:pt idx="2122">
                  <c:v>17709</c:v>
                </c:pt>
                <c:pt idx="2123">
                  <c:v>17710</c:v>
                </c:pt>
                <c:pt idx="2124">
                  <c:v>17711</c:v>
                </c:pt>
                <c:pt idx="2125">
                  <c:v>17714</c:v>
                </c:pt>
                <c:pt idx="2126">
                  <c:v>17715</c:v>
                </c:pt>
                <c:pt idx="2127">
                  <c:v>17716</c:v>
                </c:pt>
                <c:pt idx="2128">
                  <c:v>17717</c:v>
                </c:pt>
                <c:pt idx="2129">
                  <c:v>17718</c:v>
                </c:pt>
                <c:pt idx="2130">
                  <c:v>17721</c:v>
                </c:pt>
                <c:pt idx="2131">
                  <c:v>17722</c:v>
                </c:pt>
                <c:pt idx="2132">
                  <c:v>17723</c:v>
                </c:pt>
                <c:pt idx="2133">
                  <c:v>17724</c:v>
                </c:pt>
                <c:pt idx="2134">
                  <c:v>17725</c:v>
                </c:pt>
                <c:pt idx="2135">
                  <c:v>17728</c:v>
                </c:pt>
                <c:pt idx="2136">
                  <c:v>17729</c:v>
                </c:pt>
                <c:pt idx="2137">
                  <c:v>17730</c:v>
                </c:pt>
                <c:pt idx="2138">
                  <c:v>17731</c:v>
                </c:pt>
                <c:pt idx="2139">
                  <c:v>17732</c:v>
                </c:pt>
                <c:pt idx="2140">
                  <c:v>17735</c:v>
                </c:pt>
                <c:pt idx="2141">
                  <c:v>17736</c:v>
                </c:pt>
                <c:pt idx="2142">
                  <c:v>17737</c:v>
                </c:pt>
                <c:pt idx="2143">
                  <c:v>17738</c:v>
                </c:pt>
                <c:pt idx="2144">
                  <c:v>17739</c:v>
                </c:pt>
                <c:pt idx="2145">
                  <c:v>17742</c:v>
                </c:pt>
                <c:pt idx="2146">
                  <c:v>17743</c:v>
                </c:pt>
                <c:pt idx="2147">
                  <c:v>17744</c:v>
                </c:pt>
                <c:pt idx="2148">
                  <c:v>17745</c:v>
                </c:pt>
                <c:pt idx="2149">
                  <c:v>17746</c:v>
                </c:pt>
                <c:pt idx="2150">
                  <c:v>17750</c:v>
                </c:pt>
                <c:pt idx="2151">
                  <c:v>17751</c:v>
                </c:pt>
                <c:pt idx="2152">
                  <c:v>17752</c:v>
                </c:pt>
                <c:pt idx="2153">
                  <c:v>17753</c:v>
                </c:pt>
                <c:pt idx="2154">
                  <c:v>17756</c:v>
                </c:pt>
                <c:pt idx="2155">
                  <c:v>17757</c:v>
                </c:pt>
                <c:pt idx="2156">
                  <c:v>17758</c:v>
                </c:pt>
                <c:pt idx="2157">
                  <c:v>17759</c:v>
                </c:pt>
                <c:pt idx="2158">
                  <c:v>17760</c:v>
                </c:pt>
                <c:pt idx="2159">
                  <c:v>17763</c:v>
                </c:pt>
                <c:pt idx="2160">
                  <c:v>17764</c:v>
                </c:pt>
                <c:pt idx="2161">
                  <c:v>17765</c:v>
                </c:pt>
                <c:pt idx="2162">
                  <c:v>17766</c:v>
                </c:pt>
                <c:pt idx="2163">
                  <c:v>17767</c:v>
                </c:pt>
                <c:pt idx="2164">
                  <c:v>17770</c:v>
                </c:pt>
                <c:pt idx="2165">
                  <c:v>17771</c:v>
                </c:pt>
                <c:pt idx="2166">
                  <c:v>17772</c:v>
                </c:pt>
                <c:pt idx="2167">
                  <c:v>17773</c:v>
                </c:pt>
                <c:pt idx="2168">
                  <c:v>17774</c:v>
                </c:pt>
                <c:pt idx="2169">
                  <c:v>17777</c:v>
                </c:pt>
                <c:pt idx="2170">
                  <c:v>17778</c:v>
                </c:pt>
                <c:pt idx="2171">
                  <c:v>17779</c:v>
                </c:pt>
                <c:pt idx="2172">
                  <c:v>17780</c:v>
                </c:pt>
                <c:pt idx="2173">
                  <c:v>17781</c:v>
                </c:pt>
                <c:pt idx="2174">
                  <c:v>17784</c:v>
                </c:pt>
                <c:pt idx="2175">
                  <c:v>17785</c:v>
                </c:pt>
                <c:pt idx="2176">
                  <c:v>17786</c:v>
                </c:pt>
                <c:pt idx="2177">
                  <c:v>17787</c:v>
                </c:pt>
                <c:pt idx="2178">
                  <c:v>17788</c:v>
                </c:pt>
                <c:pt idx="2179">
                  <c:v>17791</c:v>
                </c:pt>
                <c:pt idx="2180">
                  <c:v>17792</c:v>
                </c:pt>
                <c:pt idx="2181">
                  <c:v>17793</c:v>
                </c:pt>
                <c:pt idx="2182">
                  <c:v>17794</c:v>
                </c:pt>
                <c:pt idx="2183">
                  <c:v>17795</c:v>
                </c:pt>
                <c:pt idx="2184">
                  <c:v>17798</c:v>
                </c:pt>
                <c:pt idx="2185">
                  <c:v>17799</c:v>
                </c:pt>
                <c:pt idx="2186">
                  <c:v>17800</c:v>
                </c:pt>
                <c:pt idx="2187">
                  <c:v>17801</c:v>
                </c:pt>
                <c:pt idx="2188">
                  <c:v>17802</c:v>
                </c:pt>
                <c:pt idx="2189">
                  <c:v>17805</c:v>
                </c:pt>
                <c:pt idx="2190">
                  <c:v>17806</c:v>
                </c:pt>
                <c:pt idx="2191">
                  <c:v>17807</c:v>
                </c:pt>
                <c:pt idx="2192">
                  <c:v>17808</c:v>
                </c:pt>
                <c:pt idx="2193">
                  <c:v>17809</c:v>
                </c:pt>
                <c:pt idx="2194">
                  <c:v>17812</c:v>
                </c:pt>
                <c:pt idx="2195">
                  <c:v>17813</c:v>
                </c:pt>
                <c:pt idx="2196">
                  <c:v>17814</c:v>
                </c:pt>
                <c:pt idx="2197">
                  <c:v>17815</c:v>
                </c:pt>
                <c:pt idx="2198">
                  <c:v>17816</c:v>
                </c:pt>
                <c:pt idx="2199">
                  <c:v>17819</c:v>
                </c:pt>
                <c:pt idx="2200">
                  <c:v>17820</c:v>
                </c:pt>
                <c:pt idx="2201">
                  <c:v>17821</c:v>
                </c:pt>
                <c:pt idx="2202">
                  <c:v>17822</c:v>
                </c:pt>
                <c:pt idx="2203">
                  <c:v>17823</c:v>
                </c:pt>
                <c:pt idx="2204">
                  <c:v>17826</c:v>
                </c:pt>
                <c:pt idx="2205">
                  <c:v>17827</c:v>
                </c:pt>
                <c:pt idx="2206">
                  <c:v>17828</c:v>
                </c:pt>
                <c:pt idx="2207">
                  <c:v>17829</c:v>
                </c:pt>
                <c:pt idx="2208">
                  <c:v>17830</c:v>
                </c:pt>
                <c:pt idx="2209">
                  <c:v>17833</c:v>
                </c:pt>
                <c:pt idx="2210">
                  <c:v>17834</c:v>
                </c:pt>
                <c:pt idx="2211">
                  <c:v>17835</c:v>
                </c:pt>
                <c:pt idx="2212">
                  <c:v>17836</c:v>
                </c:pt>
                <c:pt idx="2213">
                  <c:v>17837</c:v>
                </c:pt>
                <c:pt idx="2214">
                  <c:v>17840</c:v>
                </c:pt>
                <c:pt idx="2215">
                  <c:v>17841</c:v>
                </c:pt>
                <c:pt idx="2216">
                  <c:v>17842</c:v>
                </c:pt>
                <c:pt idx="2217">
                  <c:v>17843</c:v>
                </c:pt>
                <c:pt idx="2218">
                  <c:v>17844</c:v>
                </c:pt>
                <c:pt idx="2219">
                  <c:v>17847</c:v>
                </c:pt>
                <c:pt idx="2220">
                  <c:v>17848</c:v>
                </c:pt>
                <c:pt idx="2221">
                  <c:v>17849</c:v>
                </c:pt>
                <c:pt idx="2222">
                  <c:v>17850</c:v>
                </c:pt>
                <c:pt idx="2223">
                  <c:v>17851</c:v>
                </c:pt>
                <c:pt idx="2224">
                  <c:v>17854</c:v>
                </c:pt>
                <c:pt idx="2225">
                  <c:v>17855</c:v>
                </c:pt>
                <c:pt idx="2226">
                  <c:v>17856</c:v>
                </c:pt>
                <c:pt idx="2227">
                  <c:v>17857</c:v>
                </c:pt>
                <c:pt idx="2228">
                  <c:v>17858</c:v>
                </c:pt>
                <c:pt idx="2229">
                  <c:v>17861</c:v>
                </c:pt>
                <c:pt idx="2230">
                  <c:v>17862</c:v>
                </c:pt>
                <c:pt idx="2231">
                  <c:v>17863</c:v>
                </c:pt>
                <c:pt idx="2232">
                  <c:v>17864</c:v>
                </c:pt>
                <c:pt idx="2233">
                  <c:v>17865</c:v>
                </c:pt>
                <c:pt idx="2234">
                  <c:v>17868</c:v>
                </c:pt>
                <c:pt idx="2235">
                  <c:v>17869</c:v>
                </c:pt>
                <c:pt idx="2236">
                  <c:v>17870</c:v>
                </c:pt>
                <c:pt idx="2237">
                  <c:v>17871</c:v>
                </c:pt>
                <c:pt idx="2238">
                  <c:v>17872</c:v>
                </c:pt>
                <c:pt idx="2239">
                  <c:v>17875</c:v>
                </c:pt>
                <c:pt idx="2240">
                  <c:v>17876</c:v>
                </c:pt>
                <c:pt idx="2241">
                  <c:v>17877</c:v>
                </c:pt>
                <c:pt idx="2242">
                  <c:v>17878</c:v>
                </c:pt>
                <c:pt idx="2243">
                  <c:v>17879</c:v>
                </c:pt>
                <c:pt idx="2244">
                  <c:v>17882</c:v>
                </c:pt>
                <c:pt idx="2245">
                  <c:v>17883</c:v>
                </c:pt>
                <c:pt idx="2246">
                  <c:v>17884</c:v>
                </c:pt>
                <c:pt idx="2247">
                  <c:v>17885</c:v>
                </c:pt>
                <c:pt idx="2248">
                  <c:v>17886</c:v>
                </c:pt>
                <c:pt idx="2249">
                  <c:v>17892</c:v>
                </c:pt>
                <c:pt idx="2250">
                  <c:v>17893</c:v>
                </c:pt>
                <c:pt idx="2251">
                  <c:v>17896</c:v>
                </c:pt>
                <c:pt idx="2252">
                  <c:v>17897</c:v>
                </c:pt>
                <c:pt idx="2253">
                  <c:v>17898</c:v>
                </c:pt>
                <c:pt idx="2254">
                  <c:v>17899</c:v>
                </c:pt>
                <c:pt idx="2255">
                  <c:v>17900</c:v>
                </c:pt>
                <c:pt idx="2256">
                  <c:v>17903</c:v>
                </c:pt>
                <c:pt idx="2257">
                  <c:v>17904</c:v>
                </c:pt>
                <c:pt idx="2258">
                  <c:v>17905</c:v>
                </c:pt>
                <c:pt idx="2259">
                  <c:v>17906</c:v>
                </c:pt>
                <c:pt idx="2260">
                  <c:v>17907</c:v>
                </c:pt>
                <c:pt idx="2261">
                  <c:v>17910</c:v>
                </c:pt>
                <c:pt idx="2262">
                  <c:v>17911</c:v>
                </c:pt>
                <c:pt idx="2263">
                  <c:v>17912</c:v>
                </c:pt>
                <c:pt idx="2264">
                  <c:v>17913</c:v>
                </c:pt>
                <c:pt idx="2265">
                  <c:v>17914</c:v>
                </c:pt>
                <c:pt idx="2266">
                  <c:v>17917</c:v>
                </c:pt>
                <c:pt idx="2267">
                  <c:v>17918</c:v>
                </c:pt>
                <c:pt idx="2268">
                  <c:v>17919</c:v>
                </c:pt>
                <c:pt idx="2269">
                  <c:v>17920</c:v>
                </c:pt>
                <c:pt idx="2270">
                  <c:v>17921</c:v>
                </c:pt>
                <c:pt idx="2271">
                  <c:v>17924</c:v>
                </c:pt>
                <c:pt idx="2272">
                  <c:v>17925</c:v>
                </c:pt>
                <c:pt idx="2273">
                  <c:v>17926</c:v>
                </c:pt>
                <c:pt idx="2274">
                  <c:v>17927</c:v>
                </c:pt>
                <c:pt idx="2275">
                  <c:v>17928</c:v>
                </c:pt>
                <c:pt idx="2276">
                  <c:v>17931</c:v>
                </c:pt>
                <c:pt idx="2277">
                  <c:v>17932</c:v>
                </c:pt>
                <c:pt idx="2278">
                  <c:v>17933</c:v>
                </c:pt>
                <c:pt idx="2279">
                  <c:v>17934</c:v>
                </c:pt>
                <c:pt idx="2280">
                  <c:v>17935</c:v>
                </c:pt>
                <c:pt idx="2281">
                  <c:v>17938</c:v>
                </c:pt>
                <c:pt idx="2282">
                  <c:v>17939</c:v>
                </c:pt>
                <c:pt idx="2283">
                  <c:v>17940</c:v>
                </c:pt>
                <c:pt idx="2284">
                  <c:v>17941</c:v>
                </c:pt>
                <c:pt idx="2285">
                  <c:v>17942</c:v>
                </c:pt>
                <c:pt idx="2286">
                  <c:v>17945</c:v>
                </c:pt>
                <c:pt idx="2287">
                  <c:v>17946</c:v>
                </c:pt>
                <c:pt idx="2288">
                  <c:v>17947</c:v>
                </c:pt>
                <c:pt idx="2289">
                  <c:v>17948</c:v>
                </c:pt>
                <c:pt idx="2290">
                  <c:v>17949</c:v>
                </c:pt>
                <c:pt idx="2291">
                  <c:v>17952</c:v>
                </c:pt>
                <c:pt idx="2292">
                  <c:v>17953</c:v>
                </c:pt>
                <c:pt idx="2293">
                  <c:v>17954</c:v>
                </c:pt>
                <c:pt idx="2294">
                  <c:v>17955</c:v>
                </c:pt>
                <c:pt idx="2295">
                  <c:v>17956</c:v>
                </c:pt>
                <c:pt idx="2296">
                  <c:v>17959</c:v>
                </c:pt>
                <c:pt idx="2297">
                  <c:v>17960</c:v>
                </c:pt>
                <c:pt idx="2298">
                  <c:v>17961</c:v>
                </c:pt>
                <c:pt idx="2299">
                  <c:v>17962</c:v>
                </c:pt>
                <c:pt idx="2300">
                  <c:v>17963</c:v>
                </c:pt>
                <c:pt idx="2301">
                  <c:v>17966</c:v>
                </c:pt>
                <c:pt idx="2302">
                  <c:v>17967</c:v>
                </c:pt>
                <c:pt idx="2303">
                  <c:v>17968</c:v>
                </c:pt>
                <c:pt idx="2304">
                  <c:v>17969</c:v>
                </c:pt>
                <c:pt idx="2305">
                  <c:v>17970</c:v>
                </c:pt>
                <c:pt idx="2306">
                  <c:v>17973</c:v>
                </c:pt>
                <c:pt idx="2307">
                  <c:v>17974</c:v>
                </c:pt>
                <c:pt idx="2308">
                  <c:v>17975</c:v>
                </c:pt>
                <c:pt idx="2309">
                  <c:v>17976</c:v>
                </c:pt>
                <c:pt idx="2310">
                  <c:v>17977</c:v>
                </c:pt>
                <c:pt idx="2311">
                  <c:v>17978</c:v>
                </c:pt>
                <c:pt idx="2312">
                  <c:v>17979</c:v>
                </c:pt>
                <c:pt idx="2313">
                  <c:v>17980</c:v>
                </c:pt>
                <c:pt idx="2314">
                  <c:v>17981</c:v>
                </c:pt>
                <c:pt idx="2315">
                  <c:v>17982</c:v>
                </c:pt>
                <c:pt idx="2316">
                  <c:v>17983</c:v>
                </c:pt>
                <c:pt idx="2317">
                  <c:v>17984</c:v>
                </c:pt>
                <c:pt idx="2318">
                  <c:v>17985</c:v>
                </c:pt>
                <c:pt idx="2319">
                  <c:v>17986</c:v>
                </c:pt>
                <c:pt idx="2320">
                  <c:v>17987</c:v>
                </c:pt>
                <c:pt idx="2321">
                  <c:v>17988</c:v>
                </c:pt>
                <c:pt idx="2322">
                  <c:v>17989</c:v>
                </c:pt>
                <c:pt idx="2323">
                  <c:v>17990</c:v>
                </c:pt>
                <c:pt idx="2324">
                  <c:v>17991</c:v>
                </c:pt>
                <c:pt idx="2325">
                  <c:v>17992</c:v>
                </c:pt>
                <c:pt idx="2326">
                  <c:v>17993</c:v>
                </c:pt>
                <c:pt idx="2327">
                  <c:v>17994</c:v>
                </c:pt>
                <c:pt idx="2328">
                  <c:v>17995</c:v>
                </c:pt>
                <c:pt idx="2329">
                  <c:v>17996</c:v>
                </c:pt>
                <c:pt idx="2330">
                  <c:v>17997</c:v>
                </c:pt>
                <c:pt idx="2331">
                  <c:v>17998</c:v>
                </c:pt>
                <c:pt idx="2332">
                  <c:v>17999</c:v>
                </c:pt>
                <c:pt idx="2333">
                  <c:v>18000</c:v>
                </c:pt>
                <c:pt idx="2334">
                  <c:v>18001</c:v>
                </c:pt>
                <c:pt idx="2335">
                  <c:v>18002</c:v>
                </c:pt>
                <c:pt idx="2336">
                  <c:v>18003</c:v>
                </c:pt>
                <c:pt idx="2337">
                  <c:v>18004</c:v>
                </c:pt>
                <c:pt idx="2338">
                  <c:v>18005</c:v>
                </c:pt>
                <c:pt idx="2339">
                  <c:v>18006</c:v>
                </c:pt>
                <c:pt idx="2340">
                  <c:v>18007</c:v>
                </c:pt>
                <c:pt idx="2341">
                  <c:v>18008</c:v>
                </c:pt>
                <c:pt idx="2342">
                  <c:v>18009</c:v>
                </c:pt>
                <c:pt idx="2343">
                  <c:v>18010</c:v>
                </c:pt>
                <c:pt idx="2344">
                  <c:v>18011</c:v>
                </c:pt>
                <c:pt idx="2345">
                  <c:v>18012</c:v>
                </c:pt>
                <c:pt idx="2346">
                  <c:v>18013</c:v>
                </c:pt>
                <c:pt idx="2347">
                  <c:v>18014</c:v>
                </c:pt>
                <c:pt idx="2348">
                  <c:v>18015</c:v>
                </c:pt>
                <c:pt idx="2349">
                  <c:v>18016</c:v>
                </c:pt>
                <c:pt idx="2350">
                  <c:v>18017</c:v>
                </c:pt>
                <c:pt idx="2351">
                  <c:v>18018</c:v>
                </c:pt>
                <c:pt idx="2352">
                  <c:v>18019</c:v>
                </c:pt>
                <c:pt idx="2353">
                  <c:v>18020</c:v>
                </c:pt>
                <c:pt idx="2354">
                  <c:v>18021</c:v>
                </c:pt>
                <c:pt idx="2355">
                  <c:v>18022</c:v>
                </c:pt>
                <c:pt idx="2356">
                  <c:v>18023</c:v>
                </c:pt>
                <c:pt idx="2357">
                  <c:v>18024</c:v>
                </c:pt>
                <c:pt idx="2358">
                  <c:v>18025</c:v>
                </c:pt>
                <c:pt idx="2359">
                  <c:v>18026</c:v>
                </c:pt>
                <c:pt idx="2360">
                  <c:v>18027</c:v>
                </c:pt>
                <c:pt idx="2361">
                  <c:v>18028</c:v>
                </c:pt>
                <c:pt idx="2362">
                  <c:v>18029</c:v>
                </c:pt>
                <c:pt idx="2363">
                  <c:v>18030</c:v>
                </c:pt>
                <c:pt idx="2364">
                  <c:v>18031</c:v>
                </c:pt>
                <c:pt idx="2365">
                  <c:v>18032</c:v>
                </c:pt>
                <c:pt idx="2366">
                  <c:v>18033</c:v>
                </c:pt>
                <c:pt idx="2367">
                  <c:v>18034</c:v>
                </c:pt>
                <c:pt idx="2368">
                  <c:v>18035</c:v>
                </c:pt>
                <c:pt idx="2369">
                  <c:v>18036</c:v>
                </c:pt>
                <c:pt idx="2370">
                  <c:v>18037</c:v>
                </c:pt>
                <c:pt idx="2371">
                  <c:v>18038</c:v>
                </c:pt>
                <c:pt idx="2372">
                  <c:v>18039</c:v>
                </c:pt>
                <c:pt idx="2373">
                  <c:v>18040</c:v>
                </c:pt>
                <c:pt idx="2374">
                  <c:v>18041</c:v>
                </c:pt>
                <c:pt idx="2375">
                  <c:v>18042</c:v>
                </c:pt>
                <c:pt idx="2376">
                  <c:v>18043</c:v>
                </c:pt>
                <c:pt idx="2377">
                  <c:v>18044</c:v>
                </c:pt>
                <c:pt idx="2378">
                  <c:v>18045</c:v>
                </c:pt>
                <c:pt idx="2379">
                  <c:v>18046</c:v>
                </c:pt>
                <c:pt idx="2380">
                  <c:v>18047</c:v>
                </c:pt>
                <c:pt idx="2381">
                  <c:v>18048</c:v>
                </c:pt>
                <c:pt idx="2382">
                  <c:v>18049</c:v>
                </c:pt>
                <c:pt idx="2383">
                  <c:v>18050</c:v>
                </c:pt>
                <c:pt idx="2384">
                  <c:v>18051</c:v>
                </c:pt>
                <c:pt idx="2385">
                  <c:v>18052</c:v>
                </c:pt>
                <c:pt idx="2386">
                  <c:v>18053</c:v>
                </c:pt>
                <c:pt idx="2387">
                  <c:v>18054</c:v>
                </c:pt>
                <c:pt idx="2388">
                  <c:v>18055</c:v>
                </c:pt>
                <c:pt idx="2389">
                  <c:v>18056</c:v>
                </c:pt>
                <c:pt idx="2390">
                  <c:v>18057</c:v>
                </c:pt>
                <c:pt idx="2391">
                  <c:v>18058</c:v>
                </c:pt>
                <c:pt idx="2392">
                  <c:v>18059</c:v>
                </c:pt>
                <c:pt idx="2393">
                  <c:v>18060</c:v>
                </c:pt>
                <c:pt idx="2394">
                  <c:v>18061</c:v>
                </c:pt>
                <c:pt idx="2395">
                  <c:v>18062</c:v>
                </c:pt>
                <c:pt idx="2396">
                  <c:v>18063</c:v>
                </c:pt>
                <c:pt idx="2397">
                  <c:v>18064</c:v>
                </c:pt>
                <c:pt idx="2398">
                  <c:v>18065</c:v>
                </c:pt>
                <c:pt idx="2399">
                  <c:v>18066</c:v>
                </c:pt>
                <c:pt idx="2400">
                  <c:v>18067</c:v>
                </c:pt>
                <c:pt idx="2401">
                  <c:v>18068</c:v>
                </c:pt>
                <c:pt idx="2402">
                  <c:v>18069</c:v>
                </c:pt>
                <c:pt idx="2403">
                  <c:v>18070</c:v>
                </c:pt>
                <c:pt idx="2404">
                  <c:v>18071</c:v>
                </c:pt>
                <c:pt idx="2405">
                  <c:v>18072</c:v>
                </c:pt>
                <c:pt idx="2406">
                  <c:v>18073</c:v>
                </c:pt>
                <c:pt idx="2407">
                  <c:v>18074</c:v>
                </c:pt>
                <c:pt idx="2408">
                  <c:v>18075</c:v>
                </c:pt>
                <c:pt idx="2409">
                  <c:v>18076</c:v>
                </c:pt>
                <c:pt idx="2410">
                  <c:v>18077</c:v>
                </c:pt>
                <c:pt idx="2411">
                  <c:v>18078</c:v>
                </c:pt>
                <c:pt idx="2412">
                  <c:v>18079</c:v>
                </c:pt>
                <c:pt idx="2413">
                  <c:v>18080</c:v>
                </c:pt>
                <c:pt idx="2414">
                  <c:v>18081</c:v>
                </c:pt>
                <c:pt idx="2415">
                  <c:v>18082</c:v>
                </c:pt>
                <c:pt idx="2416">
                  <c:v>18083</c:v>
                </c:pt>
                <c:pt idx="2417">
                  <c:v>18084</c:v>
                </c:pt>
                <c:pt idx="2418">
                  <c:v>18085</c:v>
                </c:pt>
                <c:pt idx="2419">
                  <c:v>18086</c:v>
                </c:pt>
                <c:pt idx="2420">
                  <c:v>18087</c:v>
                </c:pt>
                <c:pt idx="2421">
                  <c:v>18088</c:v>
                </c:pt>
                <c:pt idx="2422">
                  <c:v>18089</c:v>
                </c:pt>
                <c:pt idx="2423">
                  <c:v>18090</c:v>
                </c:pt>
                <c:pt idx="2424">
                  <c:v>18091</c:v>
                </c:pt>
                <c:pt idx="2425">
                  <c:v>18092</c:v>
                </c:pt>
                <c:pt idx="2426">
                  <c:v>18093</c:v>
                </c:pt>
                <c:pt idx="2427">
                  <c:v>18094</c:v>
                </c:pt>
                <c:pt idx="2428">
                  <c:v>18095</c:v>
                </c:pt>
                <c:pt idx="2429">
                  <c:v>18096</c:v>
                </c:pt>
                <c:pt idx="2430">
                  <c:v>18097</c:v>
                </c:pt>
                <c:pt idx="2431">
                  <c:v>18098</c:v>
                </c:pt>
                <c:pt idx="2432">
                  <c:v>18099</c:v>
                </c:pt>
                <c:pt idx="2433">
                  <c:v>18100</c:v>
                </c:pt>
                <c:pt idx="2434">
                  <c:v>18101</c:v>
                </c:pt>
                <c:pt idx="2435">
                  <c:v>18102</c:v>
                </c:pt>
                <c:pt idx="2436">
                  <c:v>18103</c:v>
                </c:pt>
                <c:pt idx="2437">
                  <c:v>18104</c:v>
                </c:pt>
                <c:pt idx="2438">
                  <c:v>18105</c:v>
                </c:pt>
                <c:pt idx="2439">
                  <c:v>18106</c:v>
                </c:pt>
                <c:pt idx="2440">
                  <c:v>18107</c:v>
                </c:pt>
                <c:pt idx="2441">
                  <c:v>18108</c:v>
                </c:pt>
                <c:pt idx="2442">
                  <c:v>18109</c:v>
                </c:pt>
                <c:pt idx="2443">
                  <c:v>18110</c:v>
                </c:pt>
                <c:pt idx="2444">
                  <c:v>18111</c:v>
                </c:pt>
                <c:pt idx="2445">
                  <c:v>18112</c:v>
                </c:pt>
                <c:pt idx="2446">
                  <c:v>18113</c:v>
                </c:pt>
                <c:pt idx="2447">
                  <c:v>18114</c:v>
                </c:pt>
                <c:pt idx="2448">
                  <c:v>18115</c:v>
                </c:pt>
                <c:pt idx="2449">
                  <c:v>18116</c:v>
                </c:pt>
                <c:pt idx="2450">
                  <c:v>18117</c:v>
                </c:pt>
                <c:pt idx="2451">
                  <c:v>18118</c:v>
                </c:pt>
                <c:pt idx="2452">
                  <c:v>18119</c:v>
                </c:pt>
                <c:pt idx="2453">
                  <c:v>18120</c:v>
                </c:pt>
                <c:pt idx="2454">
                  <c:v>18121</c:v>
                </c:pt>
                <c:pt idx="2455">
                  <c:v>18122</c:v>
                </c:pt>
                <c:pt idx="2456">
                  <c:v>18123</c:v>
                </c:pt>
                <c:pt idx="2457">
                  <c:v>18124</c:v>
                </c:pt>
                <c:pt idx="2458">
                  <c:v>18125</c:v>
                </c:pt>
                <c:pt idx="2459">
                  <c:v>18126</c:v>
                </c:pt>
                <c:pt idx="2460">
                  <c:v>18127</c:v>
                </c:pt>
                <c:pt idx="2461">
                  <c:v>18128</c:v>
                </c:pt>
                <c:pt idx="2462">
                  <c:v>18129</c:v>
                </c:pt>
                <c:pt idx="2463">
                  <c:v>18130</c:v>
                </c:pt>
                <c:pt idx="2464">
                  <c:v>18131</c:v>
                </c:pt>
                <c:pt idx="2465">
                  <c:v>18132</c:v>
                </c:pt>
                <c:pt idx="2466">
                  <c:v>18133</c:v>
                </c:pt>
                <c:pt idx="2467">
                  <c:v>18134</c:v>
                </c:pt>
                <c:pt idx="2468">
                  <c:v>18135</c:v>
                </c:pt>
                <c:pt idx="2469">
                  <c:v>18136</c:v>
                </c:pt>
                <c:pt idx="2470">
                  <c:v>18137</c:v>
                </c:pt>
                <c:pt idx="2471">
                  <c:v>18138</c:v>
                </c:pt>
                <c:pt idx="2472">
                  <c:v>18139</c:v>
                </c:pt>
                <c:pt idx="2473">
                  <c:v>18140</c:v>
                </c:pt>
                <c:pt idx="2474">
                  <c:v>18141</c:v>
                </c:pt>
                <c:pt idx="2475">
                  <c:v>18142</c:v>
                </c:pt>
                <c:pt idx="2476">
                  <c:v>18143</c:v>
                </c:pt>
                <c:pt idx="2477">
                  <c:v>18144</c:v>
                </c:pt>
                <c:pt idx="2478">
                  <c:v>18145</c:v>
                </c:pt>
                <c:pt idx="2479">
                  <c:v>18146</c:v>
                </c:pt>
                <c:pt idx="2480">
                  <c:v>18147</c:v>
                </c:pt>
                <c:pt idx="2481">
                  <c:v>18148</c:v>
                </c:pt>
                <c:pt idx="2482">
                  <c:v>18149</c:v>
                </c:pt>
                <c:pt idx="2483">
                  <c:v>18150</c:v>
                </c:pt>
                <c:pt idx="2484">
                  <c:v>18151</c:v>
                </c:pt>
                <c:pt idx="2485">
                  <c:v>18152</c:v>
                </c:pt>
                <c:pt idx="2486">
                  <c:v>18153</c:v>
                </c:pt>
                <c:pt idx="2487">
                  <c:v>18154</c:v>
                </c:pt>
                <c:pt idx="2488">
                  <c:v>18155</c:v>
                </c:pt>
                <c:pt idx="2489">
                  <c:v>18156</c:v>
                </c:pt>
                <c:pt idx="2490">
                  <c:v>18157</c:v>
                </c:pt>
                <c:pt idx="2491">
                  <c:v>18158</c:v>
                </c:pt>
                <c:pt idx="2492">
                  <c:v>18159</c:v>
                </c:pt>
                <c:pt idx="2493">
                  <c:v>18160</c:v>
                </c:pt>
                <c:pt idx="2494">
                  <c:v>18161</c:v>
                </c:pt>
                <c:pt idx="2495">
                  <c:v>18162</c:v>
                </c:pt>
                <c:pt idx="2496">
                  <c:v>18163</c:v>
                </c:pt>
                <c:pt idx="2497">
                  <c:v>18164</c:v>
                </c:pt>
                <c:pt idx="2498">
                  <c:v>18165</c:v>
                </c:pt>
                <c:pt idx="2499">
                  <c:v>18166</c:v>
                </c:pt>
                <c:pt idx="2500">
                  <c:v>18167</c:v>
                </c:pt>
                <c:pt idx="2501">
                  <c:v>18168</c:v>
                </c:pt>
                <c:pt idx="2502">
                  <c:v>18169</c:v>
                </c:pt>
                <c:pt idx="2503">
                  <c:v>18170</c:v>
                </c:pt>
                <c:pt idx="2504">
                  <c:v>18171</c:v>
                </c:pt>
                <c:pt idx="2505">
                  <c:v>18172</c:v>
                </c:pt>
                <c:pt idx="2506">
                  <c:v>18173</c:v>
                </c:pt>
                <c:pt idx="2507">
                  <c:v>18174</c:v>
                </c:pt>
                <c:pt idx="2508">
                  <c:v>18175</c:v>
                </c:pt>
                <c:pt idx="2509">
                  <c:v>18176</c:v>
                </c:pt>
                <c:pt idx="2510">
                  <c:v>18177</c:v>
                </c:pt>
                <c:pt idx="2511">
                  <c:v>18178</c:v>
                </c:pt>
                <c:pt idx="2512">
                  <c:v>18179</c:v>
                </c:pt>
                <c:pt idx="2513">
                  <c:v>18180</c:v>
                </c:pt>
                <c:pt idx="2514">
                  <c:v>18181</c:v>
                </c:pt>
                <c:pt idx="2515">
                  <c:v>18182</c:v>
                </c:pt>
                <c:pt idx="2516">
                  <c:v>18183</c:v>
                </c:pt>
                <c:pt idx="2517">
                  <c:v>18184</c:v>
                </c:pt>
                <c:pt idx="2518">
                  <c:v>18185</c:v>
                </c:pt>
                <c:pt idx="2519">
                  <c:v>18186</c:v>
                </c:pt>
                <c:pt idx="2520">
                  <c:v>18187</c:v>
                </c:pt>
                <c:pt idx="2521">
                  <c:v>18188</c:v>
                </c:pt>
                <c:pt idx="2522">
                  <c:v>18189</c:v>
                </c:pt>
                <c:pt idx="2523">
                  <c:v>18190</c:v>
                </c:pt>
                <c:pt idx="2524">
                  <c:v>18191</c:v>
                </c:pt>
                <c:pt idx="2525">
                  <c:v>18192</c:v>
                </c:pt>
                <c:pt idx="2526">
                  <c:v>18193</c:v>
                </c:pt>
                <c:pt idx="2527">
                  <c:v>18194</c:v>
                </c:pt>
                <c:pt idx="2528">
                  <c:v>18195</c:v>
                </c:pt>
                <c:pt idx="2529">
                  <c:v>18196</c:v>
                </c:pt>
                <c:pt idx="2530">
                  <c:v>18197</c:v>
                </c:pt>
                <c:pt idx="2531">
                  <c:v>18198</c:v>
                </c:pt>
                <c:pt idx="2532">
                  <c:v>18199</c:v>
                </c:pt>
                <c:pt idx="2533">
                  <c:v>18200</c:v>
                </c:pt>
                <c:pt idx="2534">
                  <c:v>18201</c:v>
                </c:pt>
                <c:pt idx="2535">
                  <c:v>18202</c:v>
                </c:pt>
                <c:pt idx="2536">
                  <c:v>18203</c:v>
                </c:pt>
                <c:pt idx="2537">
                  <c:v>18204</c:v>
                </c:pt>
                <c:pt idx="2538">
                  <c:v>18205</c:v>
                </c:pt>
                <c:pt idx="2539">
                  <c:v>18206</c:v>
                </c:pt>
                <c:pt idx="2540">
                  <c:v>18207</c:v>
                </c:pt>
                <c:pt idx="2541">
                  <c:v>18208</c:v>
                </c:pt>
                <c:pt idx="2542">
                  <c:v>18209</c:v>
                </c:pt>
                <c:pt idx="2543">
                  <c:v>18210</c:v>
                </c:pt>
                <c:pt idx="2544">
                  <c:v>18211</c:v>
                </c:pt>
                <c:pt idx="2545">
                  <c:v>18212</c:v>
                </c:pt>
                <c:pt idx="2546">
                  <c:v>18213</c:v>
                </c:pt>
                <c:pt idx="2547">
                  <c:v>18214</c:v>
                </c:pt>
                <c:pt idx="2548">
                  <c:v>18215</c:v>
                </c:pt>
                <c:pt idx="2549">
                  <c:v>18216</c:v>
                </c:pt>
                <c:pt idx="2550">
                  <c:v>18217</c:v>
                </c:pt>
                <c:pt idx="2551">
                  <c:v>18218</c:v>
                </c:pt>
                <c:pt idx="2552">
                  <c:v>18219</c:v>
                </c:pt>
                <c:pt idx="2553">
                  <c:v>18220</c:v>
                </c:pt>
                <c:pt idx="2554">
                  <c:v>18221</c:v>
                </c:pt>
                <c:pt idx="2555">
                  <c:v>18222</c:v>
                </c:pt>
                <c:pt idx="2556">
                  <c:v>18223</c:v>
                </c:pt>
                <c:pt idx="2557">
                  <c:v>18224</c:v>
                </c:pt>
                <c:pt idx="2558">
                  <c:v>18225</c:v>
                </c:pt>
                <c:pt idx="2559">
                  <c:v>18226</c:v>
                </c:pt>
                <c:pt idx="2560">
                  <c:v>18227</c:v>
                </c:pt>
                <c:pt idx="2561">
                  <c:v>18228</c:v>
                </c:pt>
                <c:pt idx="2562">
                  <c:v>18229</c:v>
                </c:pt>
                <c:pt idx="2563">
                  <c:v>18230</c:v>
                </c:pt>
                <c:pt idx="2564">
                  <c:v>18231</c:v>
                </c:pt>
                <c:pt idx="2565">
                  <c:v>18232</c:v>
                </c:pt>
                <c:pt idx="2566">
                  <c:v>18233</c:v>
                </c:pt>
                <c:pt idx="2567">
                  <c:v>18234</c:v>
                </c:pt>
                <c:pt idx="2568">
                  <c:v>18235</c:v>
                </c:pt>
                <c:pt idx="2569">
                  <c:v>18236</c:v>
                </c:pt>
                <c:pt idx="2570">
                  <c:v>18237</c:v>
                </c:pt>
                <c:pt idx="2571">
                  <c:v>18238</c:v>
                </c:pt>
                <c:pt idx="2572">
                  <c:v>18239</c:v>
                </c:pt>
                <c:pt idx="2573">
                  <c:v>18240</c:v>
                </c:pt>
                <c:pt idx="2574">
                  <c:v>18241</c:v>
                </c:pt>
                <c:pt idx="2575">
                  <c:v>18242</c:v>
                </c:pt>
                <c:pt idx="2576">
                  <c:v>18243</c:v>
                </c:pt>
                <c:pt idx="2577">
                  <c:v>18244</c:v>
                </c:pt>
                <c:pt idx="2578">
                  <c:v>18245</c:v>
                </c:pt>
                <c:pt idx="2579">
                  <c:v>18246</c:v>
                </c:pt>
                <c:pt idx="2580">
                  <c:v>18247</c:v>
                </c:pt>
                <c:pt idx="2581">
                  <c:v>18248</c:v>
                </c:pt>
                <c:pt idx="2582">
                  <c:v>18249</c:v>
                </c:pt>
                <c:pt idx="2583">
                  <c:v>18250</c:v>
                </c:pt>
                <c:pt idx="2584">
                  <c:v>18251</c:v>
                </c:pt>
                <c:pt idx="2585">
                  <c:v>18252</c:v>
                </c:pt>
                <c:pt idx="2586">
                  <c:v>18253</c:v>
                </c:pt>
                <c:pt idx="2587">
                  <c:v>18254</c:v>
                </c:pt>
                <c:pt idx="2588">
                  <c:v>18255</c:v>
                </c:pt>
                <c:pt idx="2589">
                  <c:v>18256</c:v>
                </c:pt>
                <c:pt idx="2590">
                  <c:v>18257</c:v>
                </c:pt>
                <c:pt idx="2591">
                  <c:v>18258</c:v>
                </c:pt>
                <c:pt idx="2592">
                  <c:v>18259</c:v>
                </c:pt>
                <c:pt idx="2593">
                  <c:v>18260</c:v>
                </c:pt>
                <c:pt idx="2594">
                  <c:v>18261</c:v>
                </c:pt>
              </c:numCache>
            </c:numRef>
          </c:xVal>
          <c:yVal>
            <c:numRef>
              <c:f>Sheet1!$A$3:$CUU$3</c:f>
              <c:numCache>
                <c:formatCode>General</c:formatCode>
                <c:ptCount val="2595"/>
                <c:pt idx="2310">
                  <c:v>5.25</c:v>
                </c:pt>
                <c:pt idx="2311">
                  <c:v>4.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5BF-4E90-A947-E8B3EB0252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6373543"/>
        <c:axId val="1"/>
      </c:scatterChart>
      <c:valAx>
        <c:axId val="76373543"/>
        <c:scaling>
          <c:orientation val="minMax"/>
          <c:max val="18262"/>
          <c:min val="1461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1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76373543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2946145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s-I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910" y="0"/>
            <a:ext cx="2946144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4B6285-76EE-4FEF-AEFA-928C91CB24AC}" type="datetimeFigureOut">
              <a:rPr lang="is-IS" smtClean="0"/>
              <a:t>8.4.2019</a:t>
            </a:fld>
            <a:endParaRPr lang="is-I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378477"/>
            <a:ext cx="2946145" cy="4941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s-I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910" y="9378477"/>
            <a:ext cx="2946144" cy="4941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D9BF4A-4C82-43CF-BACA-260D76C63EF7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7367079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2946145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is-I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910" y="0"/>
            <a:ext cx="2946144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DB5A20-DCC5-4DAB-A9BA-4647C72DAA78}" type="datetimeFigureOut">
              <a:rPr lang="is-IS" smtClean="0"/>
              <a:t>8.4.2019</a:t>
            </a:fld>
            <a:endParaRPr lang="is-I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s-I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258" y="4750819"/>
            <a:ext cx="5437168" cy="388717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9378477"/>
            <a:ext cx="2946145" cy="4941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is-I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910" y="9378477"/>
            <a:ext cx="2946144" cy="4941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3FD912-AF27-4D22-ADCE-1CB3144F8548}" type="slidenum">
              <a:rPr lang="is-IS" smtClean="0"/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816198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16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3922598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622981">
              <a:spcAft>
                <a:spcPts val="1635"/>
              </a:spcAft>
              <a:defRPr/>
            </a:pPr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18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0692562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622981">
              <a:spcAft>
                <a:spcPts val="1635"/>
              </a:spcAft>
              <a:defRPr/>
            </a:pPr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20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0169603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21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7126854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24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8439435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622981">
              <a:spcAft>
                <a:spcPts val="1635"/>
              </a:spcAft>
              <a:defRPr/>
            </a:pPr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25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516507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622981">
              <a:spcAft>
                <a:spcPts val="1635"/>
              </a:spcAft>
              <a:defRPr/>
            </a:pPr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26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658659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28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174724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3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2511582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4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2719124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5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5015908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8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7426579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10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599882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dirty="0"/>
              <a:t>Ef kaffitímar eru felldir niður að fullu er hægt að stytta vinnuvikuna um 2 </a:t>
            </a:r>
            <a:r>
              <a:rPr lang="is-IS" dirty="0" err="1"/>
              <a:t>klst</a:t>
            </a:r>
            <a:r>
              <a:rPr lang="is-IS" dirty="0"/>
              <a:t> á viku eða 8,6 tíma á mánuði, 94 tíma á ári eða 13,23 daga á ári.</a:t>
            </a:r>
          </a:p>
          <a:p>
            <a:r>
              <a:rPr lang="is-IS" dirty="0"/>
              <a:t>Afgreiðslufólk þá væru þetta 220 mín á viku eða 3 klst. og 40 mínútur á viku eða 15,87 </a:t>
            </a:r>
            <a:r>
              <a:rPr lang="is-IS" dirty="0" err="1"/>
              <a:t>klst</a:t>
            </a:r>
            <a:r>
              <a:rPr lang="is-IS" dirty="0"/>
              <a:t> á mánuði, eða 172,33 tíma á ári eða 22 dagar á ári.                                                                           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11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144763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dirty="0"/>
              <a:t>Ef engin breyting verður á vinnutíma þá hækka launin. Greiddir 3,21 yfirvinnutímar á mánuði hjá afgreiðslufólki og skrifstofufólki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13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2167581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dirty="0"/>
              <a:t>Ef engin breyting verður á vinnutíma þá hækka launin. Greiddir 3,21 yfirvinnutímar á mánuði hjá afgreiðslufólki og skrifstofufólki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FD912-AF27-4D22-ADCE-1CB3144F8548}" type="slidenum">
              <a:rPr lang="is-IS" smtClean="0"/>
              <a:t>14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912831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3001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s-IS" sz="4800" b="1" i="0" baseline="0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17" name="Picture 16" descr="A person wearing a costume&#10;&#10;Description generated with high confidence">
            <a:extLst>
              <a:ext uri="{FF2B5EF4-FFF2-40B4-BE49-F238E27FC236}">
                <a16:creationId xmlns:a16="http://schemas.microsoft.com/office/drawing/2014/main" id="{AB9AF46E-6BFE-4EA3-9574-AC5540F330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2711" y="1057274"/>
            <a:ext cx="10151534" cy="1185863"/>
          </a:xfrm>
          <a:ln>
            <a:noFill/>
          </a:ln>
        </p:spPr>
        <p:txBody>
          <a:bodyPr/>
          <a:lstStyle>
            <a:lvl1pPr>
              <a:defRPr sz="4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0355" y="1835944"/>
            <a:ext cx="8534400" cy="407193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sub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13719101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0B8E26-592D-6E48-891C-67E8714E5786}" type="datetimeFigureOut">
              <a:rPr lang="is-IS" smtClean="0"/>
              <a:pPr>
                <a:defRPr/>
              </a:pPr>
              <a:t>8.4.2019</a:t>
            </a:fld>
            <a:endParaRPr lang="is-I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383F83-B7F4-B940-9C7D-FB15C7CAFFEE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8136801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6268" y="1130302"/>
            <a:ext cx="11734800" cy="2159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is-IS" dirty="0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668342"/>
            <a:ext cx="2743200" cy="5173663"/>
          </a:xfrm>
        </p:spPr>
        <p:txBody>
          <a:bodyPr vert="eaVert"/>
          <a:lstStyle/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668342"/>
            <a:ext cx="8026400" cy="5173663"/>
          </a:xfrm>
        </p:spPr>
        <p:txBody>
          <a:bodyPr vert="eaVert"/>
          <a:lstStyle/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F2090D-F043-494A-9536-0471C2803A56}" type="datetimeFigureOut">
              <a:rPr lang="is-IS" smtClean="0"/>
              <a:pPr>
                <a:defRPr/>
              </a:pPr>
              <a:t>8.4.2019</a:t>
            </a:fld>
            <a:endParaRPr lang="is-I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954EFC-F6B0-CA45-8D63-923EA67051EC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1511706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5562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>
                <a:latin typeface="+mj-lt"/>
              </a:defRPr>
            </a:lvl1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EB975A-5181-6D4B-B71A-36D73D306F78}" type="datetimeFigureOut">
              <a:rPr lang="is-IS" smtClean="0"/>
              <a:pPr>
                <a:defRPr/>
              </a:pPr>
              <a:t>8.4.2019</a:t>
            </a:fld>
            <a:endParaRPr lang="is-I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EDCA62-7AF9-544A-9EF7-929495CEA2DF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391025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469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A1CDAE-B1A7-4EEC-A73B-276B26B897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s-IS" sz="3500" b="1" i="0" baseline="0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E1E0F8-154B-4A3A-BD6A-8F6FECE6BFFC}"/>
              </a:ext>
            </a:extLst>
          </p:cNvPr>
          <p:cNvSpPr/>
          <p:nvPr userDrawn="1"/>
        </p:nvSpPr>
        <p:spPr>
          <a:xfrm>
            <a:off x="0" y="5464311"/>
            <a:ext cx="12192001" cy="13936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 3">
            <a:extLst>
              <a:ext uri="{FF2B5EF4-FFF2-40B4-BE49-F238E27FC236}">
                <a16:creationId xmlns:a16="http://schemas.microsoft.com/office/drawing/2014/main" id="{C135E608-3C76-4B7C-B5C1-B046E5EC85D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79425" y="5770562"/>
            <a:ext cx="8534400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1446" indent="-171446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accent1"/>
                </a:solidFill>
                <a:latin typeface="Arial"/>
                <a:ea typeface="ＭＳ Ｐゴシック" charset="0"/>
                <a:cs typeface="Arial"/>
              </a:defRPr>
            </a:lvl1pPr>
            <a:lvl2pPr marL="742932" indent="-28574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2pPr>
            <a:lvl3pPr marL="1142971" indent="-22859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3pPr>
            <a:lvl4pPr marL="1600160" indent="-22859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4pPr>
            <a:lvl5pPr marL="2057349" indent="-22859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s-IS" sz="1800" dirty="0">
                <a:solidFill>
                  <a:srgbClr val="00B0F0"/>
                </a:solidFill>
                <a:latin typeface="Aaux ProMedium" panose="00000400000000000000" pitchFamily="2" charset="0"/>
              </a:rPr>
              <a:t>Höfundur - dagsetning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40789CD-4F83-41DE-9D3A-C10A5422742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02711" y="1057274"/>
            <a:ext cx="10151534" cy="1185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ＭＳ Ｐゴシック" charset="0"/>
                <a:cs typeface="Arial"/>
              </a:defRPr>
            </a:lvl1pPr>
            <a:lvl2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189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377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566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754" algn="l" defTabSz="457189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23C359D-7806-4620-889B-8A2D980505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355" y="1835944"/>
            <a:ext cx="8534400" cy="407193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sub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023105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EBD4FE-513F-9A44-A476-8F22980EE134}" type="datetimeFigureOut">
              <a:rPr lang="is-IS" smtClean="0"/>
              <a:pPr>
                <a:defRPr/>
              </a:pPr>
              <a:t>8.4.2019</a:t>
            </a:fld>
            <a:endParaRPr lang="is-I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2F714F-4CAE-3C42-BD88-C8756BD9EA51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8878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4"/>
            <a:ext cx="5386917" cy="639763"/>
          </a:xfrm>
        </p:spPr>
        <p:txBody>
          <a:bodyPr anchor="ctr">
            <a:normAutofit/>
          </a:bodyPr>
          <a:lstStyle>
            <a:lvl1pPr marL="0" indent="0">
              <a:buNone/>
              <a:defRPr sz="20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3" cy="639763"/>
          </a:xfrm>
        </p:spPr>
        <p:txBody>
          <a:bodyPr anchor="ctr">
            <a:normAutofit/>
          </a:bodyPr>
          <a:lstStyle>
            <a:lvl1pPr marL="0" indent="0">
              <a:buNone/>
              <a:defRPr sz="20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759852-869B-974F-9773-64E984DFE9A1}" type="datetimeFigureOut">
              <a:rPr lang="is-IS" smtClean="0"/>
              <a:pPr>
                <a:defRPr/>
              </a:pPr>
              <a:t>8.4.2019</a:t>
            </a:fld>
            <a:endParaRPr lang="is-I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66333F-2D10-C340-82EA-006930B38B0C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26353257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8027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s-IS" sz="2200" b="1" i="0" baseline="0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387705-2F49-EC4B-B17E-43E9682CF43E}" type="datetimeFigureOut">
              <a:rPr lang="is-IS" smtClean="0"/>
              <a:pPr>
                <a:defRPr/>
              </a:pPr>
              <a:t>8.4.2019</a:t>
            </a:fld>
            <a:endParaRPr lang="is-I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CC3521-A7E9-854B-AA98-C61CB11A3217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1232174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8502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144FBA-589B-3243-8970-0C24E266CDAF}" type="datetimeFigureOut">
              <a:rPr lang="is-IS" smtClean="0"/>
              <a:pPr>
                <a:defRPr/>
              </a:pPr>
              <a:t>8.4.2019</a:t>
            </a:fld>
            <a:endParaRPr lang="is-I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7443D7-43D1-1949-B63F-93A681265975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98298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7028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95250"/>
            <a:ext cx="4011084" cy="1162051"/>
          </a:xfrm>
        </p:spPr>
        <p:txBody>
          <a:bodyPr anchor="b">
            <a:normAutofit/>
          </a:bodyPr>
          <a:lstStyle>
            <a:lvl1pPr algn="l">
              <a:defRPr sz="1600" b="1"/>
            </a:lvl1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806454"/>
            <a:ext cx="6815668" cy="5853113"/>
          </a:xfrm>
        </p:spPr>
        <p:txBody>
          <a:bodyPr/>
          <a:lstStyle>
            <a:lvl1pPr>
              <a:lnSpc>
                <a:spcPct val="120000"/>
              </a:lnSpc>
              <a:defRPr sz="2000"/>
            </a:lvl1pPr>
            <a:lvl2pPr>
              <a:lnSpc>
                <a:spcPct val="120000"/>
              </a:lnSpc>
              <a:defRPr sz="1600"/>
            </a:lvl2pPr>
            <a:lvl3pPr>
              <a:lnSpc>
                <a:spcPct val="120000"/>
              </a:lnSpc>
              <a:defRPr sz="1600"/>
            </a:lvl3pPr>
            <a:lvl4pPr>
              <a:lnSpc>
                <a:spcPct val="120000"/>
              </a:lnSpc>
              <a:defRPr sz="1600"/>
            </a:lvl4pPr>
            <a:lvl5pPr>
              <a:lnSpc>
                <a:spcPct val="120000"/>
              </a:lnSpc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1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3335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EE86AF-27C2-D84D-8127-EBCABCE886A4}" type="datetimeFigureOut">
              <a:rPr lang="is-IS" smtClean="0"/>
              <a:pPr>
                <a:defRPr/>
              </a:pPr>
              <a:t>8.4.2019</a:t>
            </a:fld>
            <a:endParaRPr lang="is-I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356AF-5E5B-D945-9E77-9EB3AD469DB8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18978600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is-IS" noProof="0" dirty="0" err="1"/>
              <a:t>Click</a:t>
            </a:r>
            <a:r>
              <a:rPr lang="is-IS" noProof="0" dirty="0"/>
              <a:t> </a:t>
            </a:r>
            <a:r>
              <a:rPr lang="is-IS" noProof="0" dirty="0" err="1"/>
              <a:t>icon</a:t>
            </a:r>
            <a:r>
              <a:rPr lang="is-IS" noProof="0" dirty="0"/>
              <a:t> </a:t>
            </a:r>
            <a:r>
              <a:rPr lang="is-IS" noProof="0" dirty="0" err="1"/>
              <a:t>to</a:t>
            </a:r>
            <a:r>
              <a:rPr lang="is-IS" noProof="0" dirty="0"/>
              <a:t> </a:t>
            </a:r>
            <a:r>
              <a:rPr lang="is-IS" noProof="0" dirty="0" err="1"/>
              <a:t>add</a:t>
            </a:r>
            <a:r>
              <a:rPr lang="is-IS" noProof="0" dirty="0"/>
              <a:t> </a:t>
            </a:r>
            <a:r>
              <a:rPr lang="is-IS" noProof="0" dirty="0" err="1"/>
              <a:t>picture</a:t>
            </a:r>
            <a:endParaRPr lang="is-I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0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2065867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FB8467-9BB5-5D4A-A6B7-C8891D208007}" type="datetimeFigureOut">
              <a:rPr lang="is-IS" smtClean="0"/>
              <a:pPr>
                <a:defRPr/>
              </a:pPr>
              <a:t>8.4.2019</a:t>
            </a:fld>
            <a:endParaRPr lang="is-I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823200" y="188915"/>
            <a:ext cx="3860800" cy="3143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is-I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9468" y="6356352"/>
            <a:ext cx="14054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431290-7ABD-5D48-8D31-5C3A4180F06A}" type="slidenum">
              <a:rPr lang="is-IS" smtClean="0"/>
              <a:pPr>
                <a:defRPr/>
              </a:pPr>
              <a:t>‹#›</a:t>
            </a:fld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42569510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89832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s-IS" sz="2200" b="1" i="0" baseline="0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96000" y="6678000"/>
            <a:ext cx="12096000" cy="180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is-I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12012000" y="0"/>
            <a:ext cx="180000" cy="6858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is-IS" dirty="0"/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40000" y="360000"/>
            <a:ext cx="11160000" cy="434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s-IS" dirty="0" err="1"/>
              <a:t>Click</a:t>
            </a:r>
            <a:r>
              <a:rPr lang="is-IS" dirty="0"/>
              <a:t> </a:t>
            </a:r>
            <a:r>
              <a:rPr lang="is-IS" dirty="0" err="1"/>
              <a:t>to</a:t>
            </a:r>
            <a:r>
              <a:rPr lang="is-IS" dirty="0"/>
              <a:t> </a:t>
            </a:r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itle</a:t>
            </a:r>
            <a:r>
              <a:rPr lang="is-IS" dirty="0"/>
              <a:t> </a:t>
            </a:r>
            <a:r>
              <a:rPr lang="is-IS" dirty="0" err="1"/>
              <a:t>style</a:t>
            </a:r>
            <a:endParaRPr lang="is-I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40000" y="1277840"/>
            <a:ext cx="11160000" cy="2162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s-IS" dirty="0" err="1"/>
              <a:t>Edit</a:t>
            </a:r>
            <a:r>
              <a:rPr lang="is-IS" dirty="0"/>
              <a:t> Master </a:t>
            </a:r>
            <a:r>
              <a:rPr lang="is-IS" dirty="0" err="1"/>
              <a:t>text</a:t>
            </a:r>
            <a:r>
              <a:rPr lang="is-IS" dirty="0"/>
              <a:t> </a:t>
            </a:r>
            <a:r>
              <a:rPr lang="is-IS" dirty="0" err="1"/>
              <a:t>styles</a:t>
            </a:r>
            <a:endParaRPr lang="is-IS" dirty="0"/>
          </a:p>
          <a:p>
            <a:pPr lvl="2"/>
            <a:r>
              <a:rPr lang="is-IS" dirty="0" err="1"/>
              <a:t>Secon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2"/>
            <a:r>
              <a:rPr lang="is-IS" dirty="0" err="1"/>
              <a:t>Third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3"/>
            <a:r>
              <a:rPr lang="is-IS" dirty="0" err="1"/>
              <a:t>Four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  <a:p>
            <a:pPr lvl="4"/>
            <a:r>
              <a:rPr lang="is-IS" dirty="0" err="1"/>
              <a:t>Fifth</a:t>
            </a:r>
            <a:r>
              <a:rPr lang="is-IS" dirty="0"/>
              <a:t> </a:t>
            </a:r>
            <a:r>
              <a:rPr lang="is-IS" dirty="0" err="1"/>
              <a:t>level</a:t>
            </a:r>
            <a:endParaRPr lang="is-I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80000" cy="6858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is-I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0000" y="0"/>
            <a:ext cx="12096000" cy="180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is-IS" dirty="0"/>
          </a:p>
        </p:txBody>
      </p:sp>
      <p:pic>
        <p:nvPicPr>
          <p:cNvPr id="10" name="Picture 9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834455AB-C80D-49D5-8271-BD33DE5EC5EA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1230950" y="5788503"/>
            <a:ext cx="670050" cy="840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640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2200" b="1" kern="1200">
          <a:solidFill>
            <a:schemeClr val="accent1"/>
          </a:solidFill>
          <a:latin typeface="+mj-lt"/>
          <a:ea typeface="ＭＳ Ｐゴシック" charset="0"/>
          <a:cs typeface="Arial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6pPr>
      <a:lvl7pPr marL="914377"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194400" indent="-190800" algn="l" defTabSz="457189" rtl="0" eaLnBrk="1" fontAlgn="base" hangingPunct="1">
        <a:spcBef>
          <a:spcPts val="0"/>
        </a:spcBef>
        <a:spcAft>
          <a:spcPts val="600"/>
        </a:spcAft>
        <a:buClr>
          <a:srgbClr val="00B0F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Arial"/>
        </a:defRPr>
      </a:lvl1pPr>
      <a:lvl2pPr marL="194400" indent="-190800" algn="l" defTabSz="457189" rtl="0" eaLnBrk="1" fontAlgn="base" hangingPunct="1">
        <a:spcBef>
          <a:spcPts val="0"/>
        </a:spcBef>
        <a:spcAft>
          <a:spcPts val="600"/>
        </a:spcAft>
        <a:buClr>
          <a:srgbClr val="00B0F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Arial"/>
        </a:defRPr>
      </a:lvl2pPr>
      <a:lvl3pPr marL="194400" indent="-190800" algn="l" defTabSz="457189" rtl="0" eaLnBrk="1" fontAlgn="base" hangingPunct="1">
        <a:spcBef>
          <a:spcPts val="0"/>
        </a:spcBef>
        <a:spcAft>
          <a:spcPts val="600"/>
        </a:spcAft>
        <a:buClr>
          <a:srgbClr val="00B0F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Arial"/>
        </a:defRPr>
      </a:lvl3pPr>
      <a:lvl4pPr marL="194400" indent="-190800" algn="l" defTabSz="457189" rtl="0" eaLnBrk="1" fontAlgn="base" hangingPunct="1">
        <a:spcBef>
          <a:spcPts val="0"/>
        </a:spcBef>
        <a:spcAft>
          <a:spcPts val="600"/>
        </a:spcAft>
        <a:buClr>
          <a:srgbClr val="00B0F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Arial"/>
        </a:defRPr>
      </a:lvl4pPr>
      <a:lvl5pPr marL="194400" indent="-190800" algn="l" defTabSz="457189" rtl="0" eaLnBrk="1" fontAlgn="base" hangingPunct="1">
        <a:spcBef>
          <a:spcPts val="0"/>
        </a:spcBef>
        <a:spcAft>
          <a:spcPts val="600"/>
        </a:spcAft>
        <a:buClr>
          <a:srgbClr val="00B0F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ＭＳ Ｐゴシック" charset="0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tags" Target="../tags/tag68.xml"/><Relationship Id="rId7" Type="http://schemas.openxmlformats.org/officeDocument/2006/relationships/image" Target="../media/image3.emf"/><Relationship Id="rId12" Type="http://schemas.openxmlformats.org/officeDocument/2006/relationships/slide" Target="slide21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slide" Target="slide16.xml"/><Relationship Id="rId5" Type="http://schemas.openxmlformats.org/officeDocument/2006/relationships/notesSlide" Target="../notesSlides/notesSlide6.xml"/><Relationship Id="rId10" Type="http://schemas.openxmlformats.org/officeDocument/2006/relationships/slide" Target="slide10.xml"/><Relationship Id="rId4" Type="http://schemas.openxmlformats.org/officeDocument/2006/relationships/slideLayout" Target="../slideLayouts/slideLayout6.xml"/><Relationship Id="rId9" Type="http://schemas.openxmlformats.org/officeDocument/2006/relationships/slide" Target="slide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70.xml"/><Relationship Id="rId7" Type="http://schemas.openxmlformats.org/officeDocument/2006/relationships/image" Target="../media/image3.emf"/><Relationship Id="rId2" Type="http://schemas.openxmlformats.org/officeDocument/2006/relationships/tags" Target="../tags/tag6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8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3.emf"/><Relationship Id="rId2" Type="http://schemas.openxmlformats.org/officeDocument/2006/relationships/tags" Target="../tags/tag73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3.emf"/><Relationship Id="rId2" Type="http://schemas.openxmlformats.org/officeDocument/2006/relationships/tags" Target="../tags/tag75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tags" Target="../tags/tag78.xml"/><Relationship Id="rId7" Type="http://schemas.openxmlformats.org/officeDocument/2006/relationships/image" Target="../media/image3.emf"/><Relationship Id="rId12" Type="http://schemas.openxmlformats.org/officeDocument/2006/relationships/slide" Target="slide21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0.bin"/><Relationship Id="rId11" Type="http://schemas.openxmlformats.org/officeDocument/2006/relationships/slide" Target="slide16.xml"/><Relationship Id="rId5" Type="http://schemas.openxmlformats.org/officeDocument/2006/relationships/notesSlide" Target="../notesSlides/notesSlide10.xml"/><Relationship Id="rId10" Type="http://schemas.openxmlformats.org/officeDocument/2006/relationships/slide" Target="slide10.xml"/><Relationship Id="rId4" Type="http://schemas.openxmlformats.org/officeDocument/2006/relationships/slideLayout" Target="../slideLayouts/slideLayout6.xml"/><Relationship Id="rId9" Type="http://schemas.openxmlformats.org/officeDocument/2006/relationships/slide" Target="slide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oleObject" Target="../embeddings/oleObject21.bin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23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chart" Target="../charts/chart6.xml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image" Target="../media/image15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chart" Target="../charts/chart7.xml"/><Relationship Id="rId3" Type="http://schemas.openxmlformats.org/officeDocument/2006/relationships/tags" Target="../tags/tag90.xml"/><Relationship Id="rId21" Type="http://schemas.openxmlformats.org/officeDocument/2006/relationships/image" Target="../media/image21.svg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image" Target="../media/image3.emf"/><Relationship Id="rId25" Type="http://schemas.openxmlformats.org/officeDocument/2006/relationships/image" Target="../media/image25.svg"/><Relationship Id="rId2" Type="http://schemas.openxmlformats.org/officeDocument/2006/relationships/tags" Target="../tags/tag89.xml"/><Relationship Id="rId16" Type="http://schemas.openxmlformats.org/officeDocument/2006/relationships/oleObject" Target="../embeddings/oleObject22.bin"/><Relationship Id="rId20" Type="http://schemas.openxmlformats.org/officeDocument/2006/relationships/image" Target="../media/image20.png"/><Relationship Id="rId1" Type="http://schemas.openxmlformats.org/officeDocument/2006/relationships/vmlDrawing" Target="../drawings/vmlDrawing24.v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24" Type="http://schemas.openxmlformats.org/officeDocument/2006/relationships/image" Target="../media/image24.png"/><Relationship Id="rId5" Type="http://schemas.openxmlformats.org/officeDocument/2006/relationships/tags" Target="../tags/tag92.xml"/><Relationship Id="rId15" Type="http://schemas.openxmlformats.org/officeDocument/2006/relationships/notesSlide" Target="../notesSlides/notesSlide11.xml"/><Relationship Id="rId23" Type="http://schemas.openxmlformats.org/officeDocument/2006/relationships/image" Target="../media/image23.svg"/><Relationship Id="rId10" Type="http://schemas.openxmlformats.org/officeDocument/2006/relationships/tags" Target="../tags/tag97.xml"/><Relationship Id="rId19" Type="http://schemas.openxmlformats.org/officeDocument/2006/relationships/chart" Target="../charts/chart8.xml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102.xml"/><Relationship Id="rId7" Type="http://schemas.openxmlformats.org/officeDocument/2006/relationships/image" Target="../media/image26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2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svg"/><Relationship Id="rId3" Type="http://schemas.openxmlformats.org/officeDocument/2006/relationships/tags" Target="../tags/tag16.xml"/><Relationship Id="rId7" Type="http://schemas.openxmlformats.org/officeDocument/2006/relationships/image" Target="../media/image3.emf"/><Relationship Id="rId12" Type="http://schemas.openxmlformats.org/officeDocument/2006/relationships/image" Target="../media/image10.png"/><Relationship Id="rId2" Type="http://schemas.openxmlformats.org/officeDocument/2006/relationships/tags" Target="../tags/tag15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9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3.svg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7.svg"/><Relationship Id="rId1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tags" Target="../tags/tag104.xml"/><Relationship Id="rId7" Type="http://schemas.openxmlformats.org/officeDocument/2006/relationships/image" Target="../media/image3.emf"/><Relationship Id="rId12" Type="http://schemas.openxmlformats.org/officeDocument/2006/relationships/image" Target="../media/image34.emf"/><Relationship Id="rId2" Type="http://schemas.openxmlformats.org/officeDocument/2006/relationships/tags" Target="../tags/tag103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4.bin"/><Relationship Id="rId11" Type="http://schemas.openxmlformats.org/officeDocument/2006/relationships/image" Target="../media/image33.emf"/><Relationship Id="rId5" Type="http://schemas.openxmlformats.org/officeDocument/2006/relationships/notesSlide" Target="../notesSlides/notesSlide12.xml"/><Relationship Id="rId15" Type="http://schemas.openxmlformats.org/officeDocument/2006/relationships/image" Target="../media/image37.png"/><Relationship Id="rId10" Type="http://schemas.openxmlformats.org/officeDocument/2006/relationships/image" Target="../media/image32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g"/><Relationship Id="rId3" Type="http://schemas.openxmlformats.org/officeDocument/2006/relationships/tags" Target="../tags/tag106.xml"/><Relationship Id="rId7" Type="http://schemas.openxmlformats.org/officeDocument/2006/relationships/image" Target="../media/image3.emf"/><Relationship Id="rId12" Type="http://schemas.openxmlformats.org/officeDocument/2006/relationships/slide" Target="slide2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5.bin"/><Relationship Id="rId11" Type="http://schemas.openxmlformats.org/officeDocument/2006/relationships/slide" Target="slide16.xml"/><Relationship Id="rId5" Type="http://schemas.openxmlformats.org/officeDocument/2006/relationships/notesSlide" Target="../notesSlides/notesSlide13.xml"/><Relationship Id="rId10" Type="http://schemas.openxmlformats.org/officeDocument/2006/relationships/slide" Target="slide10.xml"/><Relationship Id="rId4" Type="http://schemas.openxmlformats.org/officeDocument/2006/relationships/slideLayout" Target="../slideLayouts/slideLayout6.xml"/><Relationship Id="rId9" Type="http://schemas.openxmlformats.org/officeDocument/2006/relationships/slide" Target="slide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13" Type="http://schemas.openxmlformats.org/officeDocument/2006/relationships/image" Target="../media/image46.png"/><Relationship Id="rId18" Type="http://schemas.openxmlformats.org/officeDocument/2006/relationships/image" Target="../media/image51.svg"/><Relationship Id="rId3" Type="http://schemas.openxmlformats.org/officeDocument/2006/relationships/tags" Target="../tags/tag110.xml"/><Relationship Id="rId7" Type="http://schemas.openxmlformats.org/officeDocument/2006/relationships/image" Target="../media/image40.png"/><Relationship Id="rId12" Type="http://schemas.openxmlformats.org/officeDocument/2006/relationships/image" Target="../media/image45.svg"/><Relationship Id="rId17" Type="http://schemas.openxmlformats.org/officeDocument/2006/relationships/image" Target="../media/image50.png"/><Relationship Id="rId2" Type="http://schemas.openxmlformats.org/officeDocument/2006/relationships/tags" Target="../tags/tag109.xml"/><Relationship Id="rId16" Type="http://schemas.openxmlformats.org/officeDocument/2006/relationships/image" Target="../media/image49.svg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5.emf"/><Relationship Id="rId11" Type="http://schemas.openxmlformats.org/officeDocument/2006/relationships/image" Target="../media/image44.png"/><Relationship Id="rId5" Type="http://schemas.openxmlformats.org/officeDocument/2006/relationships/oleObject" Target="../embeddings/oleObject27.bin"/><Relationship Id="rId15" Type="http://schemas.openxmlformats.org/officeDocument/2006/relationships/image" Target="../media/image48.png"/><Relationship Id="rId10" Type="http://schemas.openxmlformats.org/officeDocument/2006/relationships/image" Target="../media/image43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2.png"/><Relationship Id="rId14" Type="http://schemas.openxmlformats.org/officeDocument/2006/relationships/image" Target="../media/image47.svg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122.xml"/><Relationship Id="rId18" Type="http://schemas.openxmlformats.org/officeDocument/2006/relationships/tags" Target="../tags/tag127.xml"/><Relationship Id="rId26" Type="http://schemas.openxmlformats.org/officeDocument/2006/relationships/tags" Target="../tags/tag135.xml"/><Relationship Id="rId3" Type="http://schemas.openxmlformats.org/officeDocument/2006/relationships/tags" Target="../tags/tag112.xml"/><Relationship Id="rId21" Type="http://schemas.openxmlformats.org/officeDocument/2006/relationships/tags" Target="../tags/tag130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25" Type="http://schemas.openxmlformats.org/officeDocument/2006/relationships/tags" Target="../tags/tag134.xml"/><Relationship Id="rId33" Type="http://schemas.openxmlformats.org/officeDocument/2006/relationships/image" Target="../media/image53.png"/><Relationship Id="rId2" Type="http://schemas.openxmlformats.org/officeDocument/2006/relationships/tags" Target="../tags/tag111.xml"/><Relationship Id="rId16" Type="http://schemas.openxmlformats.org/officeDocument/2006/relationships/tags" Target="../tags/tag125.xml"/><Relationship Id="rId20" Type="http://schemas.openxmlformats.org/officeDocument/2006/relationships/tags" Target="../tags/tag129.xml"/><Relationship Id="rId29" Type="http://schemas.openxmlformats.org/officeDocument/2006/relationships/oleObject" Target="../embeddings/oleObject28.bin"/><Relationship Id="rId1" Type="http://schemas.openxmlformats.org/officeDocument/2006/relationships/vmlDrawing" Target="../drawings/vmlDrawing30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24" Type="http://schemas.openxmlformats.org/officeDocument/2006/relationships/tags" Target="../tags/tag133.xml"/><Relationship Id="rId32" Type="http://schemas.openxmlformats.org/officeDocument/2006/relationships/image" Target="../media/image52.png"/><Relationship Id="rId5" Type="http://schemas.openxmlformats.org/officeDocument/2006/relationships/tags" Target="../tags/tag114.xml"/><Relationship Id="rId15" Type="http://schemas.openxmlformats.org/officeDocument/2006/relationships/tags" Target="../tags/tag124.xml"/><Relationship Id="rId23" Type="http://schemas.openxmlformats.org/officeDocument/2006/relationships/tags" Target="../tags/tag132.xml"/><Relationship Id="rId28" Type="http://schemas.openxmlformats.org/officeDocument/2006/relationships/notesSlide" Target="../notesSlides/notesSlide14.xml"/><Relationship Id="rId10" Type="http://schemas.openxmlformats.org/officeDocument/2006/relationships/tags" Target="../tags/tag119.xml"/><Relationship Id="rId19" Type="http://schemas.openxmlformats.org/officeDocument/2006/relationships/tags" Target="../tags/tag128.xml"/><Relationship Id="rId31" Type="http://schemas.openxmlformats.org/officeDocument/2006/relationships/chart" Target="../charts/chart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Relationship Id="rId22" Type="http://schemas.openxmlformats.org/officeDocument/2006/relationships/tags" Target="../tags/tag131.xml"/><Relationship Id="rId27" Type="http://schemas.openxmlformats.org/officeDocument/2006/relationships/slideLayout" Target="../slideLayouts/slideLayout6.xml"/><Relationship Id="rId30" Type="http://schemas.openxmlformats.org/officeDocument/2006/relationships/image" Target="../media/image3.emf"/><Relationship Id="rId8" Type="http://schemas.openxmlformats.org/officeDocument/2006/relationships/tags" Target="../tags/tag117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147.xml"/><Relationship Id="rId18" Type="http://schemas.openxmlformats.org/officeDocument/2006/relationships/tags" Target="../tags/tag152.xml"/><Relationship Id="rId26" Type="http://schemas.openxmlformats.org/officeDocument/2006/relationships/chart" Target="../charts/chart10.xml"/><Relationship Id="rId3" Type="http://schemas.openxmlformats.org/officeDocument/2006/relationships/tags" Target="../tags/tag137.xml"/><Relationship Id="rId21" Type="http://schemas.openxmlformats.org/officeDocument/2006/relationships/tags" Target="../tags/tag155.xml"/><Relationship Id="rId34" Type="http://schemas.openxmlformats.org/officeDocument/2006/relationships/image" Target="../media/image61.png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tags" Target="../tags/tag151.xml"/><Relationship Id="rId25" Type="http://schemas.openxmlformats.org/officeDocument/2006/relationships/image" Target="../media/image3.emf"/><Relationship Id="rId33" Type="http://schemas.openxmlformats.org/officeDocument/2006/relationships/image" Target="../media/image60.png"/><Relationship Id="rId2" Type="http://schemas.openxmlformats.org/officeDocument/2006/relationships/tags" Target="../tags/tag136.xml"/><Relationship Id="rId16" Type="http://schemas.openxmlformats.org/officeDocument/2006/relationships/tags" Target="../tags/tag150.xml"/><Relationship Id="rId20" Type="http://schemas.openxmlformats.org/officeDocument/2006/relationships/tags" Target="../tags/tag154.xml"/><Relationship Id="rId29" Type="http://schemas.openxmlformats.org/officeDocument/2006/relationships/image" Target="../media/image56.png"/><Relationship Id="rId1" Type="http://schemas.openxmlformats.org/officeDocument/2006/relationships/vmlDrawing" Target="../drawings/vmlDrawing31.v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24" Type="http://schemas.openxmlformats.org/officeDocument/2006/relationships/oleObject" Target="../embeddings/oleObject29.bin"/><Relationship Id="rId32" Type="http://schemas.openxmlformats.org/officeDocument/2006/relationships/image" Target="../media/image59.png"/><Relationship Id="rId5" Type="http://schemas.openxmlformats.org/officeDocument/2006/relationships/tags" Target="../tags/tag139.xml"/><Relationship Id="rId15" Type="http://schemas.openxmlformats.org/officeDocument/2006/relationships/tags" Target="../tags/tag149.xml"/><Relationship Id="rId23" Type="http://schemas.openxmlformats.org/officeDocument/2006/relationships/notesSlide" Target="../notesSlides/notesSlide15.xml"/><Relationship Id="rId28" Type="http://schemas.openxmlformats.org/officeDocument/2006/relationships/image" Target="../media/image55.png"/><Relationship Id="rId10" Type="http://schemas.openxmlformats.org/officeDocument/2006/relationships/tags" Target="../tags/tag144.xml"/><Relationship Id="rId19" Type="http://schemas.openxmlformats.org/officeDocument/2006/relationships/tags" Target="../tags/tag153.xml"/><Relationship Id="rId31" Type="http://schemas.openxmlformats.org/officeDocument/2006/relationships/image" Target="../media/image58.png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tags" Target="../tags/tag148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54.png"/><Relationship Id="rId30" Type="http://schemas.openxmlformats.org/officeDocument/2006/relationships/image" Target="../media/image57.png"/><Relationship Id="rId8" Type="http://schemas.openxmlformats.org/officeDocument/2006/relationships/tags" Target="../tags/tag14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oleObject" Target="../embeddings/oleObject30.bin"/><Relationship Id="rId26" Type="http://schemas.openxmlformats.org/officeDocument/2006/relationships/image" Target="../media/image68.png"/><Relationship Id="rId3" Type="http://schemas.openxmlformats.org/officeDocument/2006/relationships/tags" Target="../tags/tag157.xml"/><Relationship Id="rId21" Type="http://schemas.openxmlformats.org/officeDocument/2006/relationships/image" Target="../media/image63.svg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notesSlide" Target="../notesSlides/notesSlide16.xml"/><Relationship Id="rId25" Type="http://schemas.openxmlformats.org/officeDocument/2006/relationships/image" Target="../media/image67.svg"/><Relationship Id="rId2" Type="http://schemas.openxmlformats.org/officeDocument/2006/relationships/tags" Target="../tags/tag156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62.png"/><Relationship Id="rId29" Type="http://schemas.openxmlformats.org/officeDocument/2006/relationships/chart" Target="../charts/chart12.xml"/><Relationship Id="rId1" Type="http://schemas.openxmlformats.org/officeDocument/2006/relationships/vmlDrawing" Target="../drawings/vmlDrawing32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24" Type="http://schemas.openxmlformats.org/officeDocument/2006/relationships/image" Target="../media/image66.png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23" Type="http://schemas.openxmlformats.org/officeDocument/2006/relationships/image" Target="../media/image65.svg"/><Relationship Id="rId28" Type="http://schemas.openxmlformats.org/officeDocument/2006/relationships/chart" Target="../charts/chart11.xml"/><Relationship Id="rId10" Type="http://schemas.openxmlformats.org/officeDocument/2006/relationships/tags" Target="../tags/tag164.xml"/><Relationship Id="rId19" Type="http://schemas.openxmlformats.org/officeDocument/2006/relationships/image" Target="../media/image3.emf"/><Relationship Id="rId31" Type="http://schemas.openxmlformats.org/officeDocument/2006/relationships/chart" Target="../charts/chart14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Relationship Id="rId22" Type="http://schemas.openxmlformats.org/officeDocument/2006/relationships/image" Target="../media/image64.png"/><Relationship Id="rId27" Type="http://schemas.openxmlformats.org/officeDocument/2006/relationships/image" Target="../media/image69.svg"/><Relationship Id="rId30" Type="http://schemas.openxmlformats.org/officeDocument/2006/relationships/chart" Target="../charts/chart13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181.xml"/><Relationship Id="rId18" Type="http://schemas.openxmlformats.org/officeDocument/2006/relationships/tags" Target="../tags/tag186.xml"/><Relationship Id="rId26" Type="http://schemas.openxmlformats.org/officeDocument/2006/relationships/tags" Target="../tags/tag194.xml"/><Relationship Id="rId39" Type="http://schemas.openxmlformats.org/officeDocument/2006/relationships/slideLayout" Target="../slideLayouts/slideLayout2.xml"/><Relationship Id="rId21" Type="http://schemas.openxmlformats.org/officeDocument/2006/relationships/tags" Target="../tags/tag189.xml"/><Relationship Id="rId34" Type="http://schemas.openxmlformats.org/officeDocument/2006/relationships/tags" Target="../tags/tag202.xml"/><Relationship Id="rId42" Type="http://schemas.openxmlformats.org/officeDocument/2006/relationships/chart" Target="../charts/chart15.xml"/><Relationship Id="rId7" Type="http://schemas.openxmlformats.org/officeDocument/2006/relationships/tags" Target="../tags/tag175.xml"/><Relationship Id="rId2" Type="http://schemas.openxmlformats.org/officeDocument/2006/relationships/tags" Target="../tags/tag170.xml"/><Relationship Id="rId16" Type="http://schemas.openxmlformats.org/officeDocument/2006/relationships/tags" Target="../tags/tag184.xml"/><Relationship Id="rId20" Type="http://schemas.openxmlformats.org/officeDocument/2006/relationships/tags" Target="../tags/tag188.xml"/><Relationship Id="rId29" Type="http://schemas.openxmlformats.org/officeDocument/2006/relationships/tags" Target="../tags/tag197.xml"/><Relationship Id="rId41" Type="http://schemas.openxmlformats.org/officeDocument/2006/relationships/image" Target="../media/image3.emf"/><Relationship Id="rId1" Type="http://schemas.openxmlformats.org/officeDocument/2006/relationships/vmlDrawing" Target="../drawings/vmlDrawing33.vml"/><Relationship Id="rId6" Type="http://schemas.openxmlformats.org/officeDocument/2006/relationships/tags" Target="../tags/tag174.xml"/><Relationship Id="rId11" Type="http://schemas.openxmlformats.org/officeDocument/2006/relationships/tags" Target="../tags/tag179.xml"/><Relationship Id="rId24" Type="http://schemas.openxmlformats.org/officeDocument/2006/relationships/tags" Target="../tags/tag192.xml"/><Relationship Id="rId32" Type="http://schemas.openxmlformats.org/officeDocument/2006/relationships/tags" Target="../tags/tag200.xml"/><Relationship Id="rId37" Type="http://schemas.openxmlformats.org/officeDocument/2006/relationships/tags" Target="../tags/tag205.xml"/><Relationship Id="rId40" Type="http://schemas.openxmlformats.org/officeDocument/2006/relationships/oleObject" Target="../embeddings/oleObject31.bin"/><Relationship Id="rId5" Type="http://schemas.openxmlformats.org/officeDocument/2006/relationships/tags" Target="../tags/tag173.xml"/><Relationship Id="rId15" Type="http://schemas.openxmlformats.org/officeDocument/2006/relationships/tags" Target="../tags/tag183.xml"/><Relationship Id="rId23" Type="http://schemas.openxmlformats.org/officeDocument/2006/relationships/tags" Target="../tags/tag191.xml"/><Relationship Id="rId28" Type="http://schemas.openxmlformats.org/officeDocument/2006/relationships/tags" Target="../tags/tag196.xml"/><Relationship Id="rId36" Type="http://schemas.openxmlformats.org/officeDocument/2006/relationships/tags" Target="../tags/tag204.xml"/><Relationship Id="rId10" Type="http://schemas.openxmlformats.org/officeDocument/2006/relationships/tags" Target="../tags/tag178.xml"/><Relationship Id="rId19" Type="http://schemas.openxmlformats.org/officeDocument/2006/relationships/tags" Target="../tags/tag187.xml"/><Relationship Id="rId31" Type="http://schemas.openxmlformats.org/officeDocument/2006/relationships/tags" Target="../tags/tag199.xml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tags" Target="../tags/tag182.xml"/><Relationship Id="rId22" Type="http://schemas.openxmlformats.org/officeDocument/2006/relationships/tags" Target="../tags/tag190.xml"/><Relationship Id="rId27" Type="http://schemas.openxmlformats.org/officeDocument/2006/relationships/tags" Target="../tags/tag195.xml"/><Relationship Id="rId30" Type="http://schemas.openxmlformats.org/officeDocument/2006/relationships/tags" Target="../tags/tag198.xml"/><Relationship Id="rId35" Type="http://schemas.openxmlformats.org/officeDocument/2006/relationships/tags" Target="../tags/tag203.xml"/><Relationship Id="rId8" Type="http://schemas.openxmlformats.org/officeDocument/2006/relationships/tags" Target="../tags/tag176.xml"/><Relationship Id="rId3" Type="http://schemas.openxmlformats.org/officeDocument/2006/relationships/tags" Target="../tags/tag171.xml"/><Relationship Id="rId12" Type="http://schemas.openxmlformats.org/officeDocument/2006/relationships/tags" Target="../tags/tag180.xml"/><Relationship Id="rId17" Type="http://schemas.openxmlformats.org/officeDocument/2006/relationships/tags" Target="../tags/tag185.xml"/><Relationship Id="rId25" Type="http://schemas.openxmlformats.org/officeDocument/2006/relationships/tags" Target="../tags/tag193.xml"/><Relationship Id="rId33" Type="http://schemas.openxmlformats.org/officeDocument/2006/relationships/tags" Target="../tags/tag201.xml"/><Relationship Id="rId38" Type="http://schemas.openxmlformats.org/officeDocument/2006/relationships/tags" Target="../tags/tag20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3.emf"/><Relationship Id="rId2" Type="http://schemas.openxmlformats.org/officeDocument/2006/relationships/tags" Target="../tags/tag207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7" Type="http://schemas.openxmlformats.org/officeDocument/2006/relationships/image" Target="../media/image5.png"/><Relationship Id="rId2" Type="http://schemas.openxmlformats.org/officeDocument/2006/relationships/tags" Target="../tags/tag20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0.xml"/><Relationship Id="rId7" Type="http://schemas.openxmlformats.org/officeDocument/2006/relationships/image" Target="../media/image3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2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openxmlformats.org/officeDocument/2006/relationships/slide" Target="slide16.xml"/><Relationship Id="rId5" Type="http://schemas.openxmlformats.org/officeDocument/2006/relationships/notesSlide" Target="../notesSlides/notesSlide4.xml"/><Relationship Id="rId10" Type="http://schemas.openxmlformats.org/officeDocument/2006/relationships/slide" Target="slide10.xml"/><Relationship Id="rId4" Type="http://schemas.openxmlformats.org/officeDocument/2006/relationships/slideLayout" Target="../slideLayouts/slideLayout6.xml"/><Relationship Id="rId9" Type="http://schemas.openxmlformats.org/officeDocument/2006/relationships/slide" Target="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chart" Target="../charts/chart1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image" Target="../media/image15.emf"/><Relationship Id="rId2" Type="http://schemas.openxmlformats.org/officeDocument/2006/relationships/tags" Target="../tags/tag23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chart" Target="../charts/chart3.xml"/><Relationship Id="rId3" Type="http://schemas.openxmlformats.org/officeDocument/2006/relationships/tags" Target="../tags/tag37.xml"/><Relationship Id="rId21" Type="http://schemas.openxmlformats.org/officeDocument/2006/relationships/tags" Target="../tags/tag55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chart" Target="../charts/chart2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1" Type="http://schemas.openxmlformats.org/officeDocument/2006/relationships/vmlDrawing" Target="../drawings/vmlDrawing14.v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image" Target="../media/image15.emf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oleObject" Target="../embeddings/oleObject14.bin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slideLayout" Target="../slideLayouts/slideLayout2.xml"/><Relationship Id="rId27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3.emf"/><Relationship Id="rId2" Type="http://schemas.openxmlformats.org/officeDocument/2006/relationships/tags" Target="../tags/tag5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15.emf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58.xml"/><Relationship Id="rId1" Type="http://schemas.openxmlformats.org/officeDocument/2006/relationships/vmlDrawing" Target="../drawings/vmlDrawing16.vml"/><Relationship Id="rId6" Type="http://schemas.openxmlformats.org/officeDocument/2006/relationships/tags" Target="../tags/tag62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61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B2A74C-78D8-4508-9E7F-16DFBEE96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5892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B2A74C-78D8-4508-9E7F-16DFBEE962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EE2FB9C-1D52-4874-B825-716352DDFC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48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525F760-3DAD-4151-8682-39405108AD37}"/>
              </a:ext>
            </a:extLst>
          </p:cNvPr>
          <p:cNvSpPr/>
          <p:nvPr/>
        </p:nvSpPr>
        <p:spPr>
          <a:xfrm>
            <a:off x="1" y="1"/>
            <a:ext cx="12191998" cy="689133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100000"/>
                  <a:alpha val="50000"/>
                </a:schemeClr>
              </a:gs>
              <a:gs pos="100000">
                <a:srgbClr val="575656"/>
              </a:gs>
            </a:gsLst>
            <a:lin ang="10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C3150E7-5952-4413-B002-03F1B2EBFB4C}"/>
              </a:ext>
            </a:extLst>
          </p:cNvPr>
          <p:cNvSpPr txBox="1">
            <a:spLocks/>
          </p:cNvSpPr>
          <p:nvPr/>
        </p:nvSpPr>
        <p:spPr bwMode="auto">
          <a:xfrm>
            <a:off x="479425" y="6201020"/>
            <a:ext cx="2987675" cy="257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0" indent="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None/>
              <a:defRPr sz="2000" kern="1200">
                <a:solidFill>
                  <a:schemeClr val="accent3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s-IS" sz="1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irt með fyrirvara um prent- og reiknivillur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0E63FE49-1DD4-4058-8ADA-25FE288C619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891" t="486"/>
          <a:stretch/>
        </p:blipFill>
        <p:spPr>
          <a:xfrm>
            <a:off x="6879770" y="0"/>
            <a:ext cx="5312229" cy="6891338"/>
          </a:xfrm>
          <a:prstGeom prst="rect">
            <a:avLst/>
          </a:prstGeom>
          <a:noFill/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6399312B-3FE0-49F2-8EC8-6647C8189E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711" y="1057274"/>
            <a:ext cx="6817544" cy="1185863"/>
          </a:xfrm>
        </p:spPr>
        <p:txBody>
          <a:bodyPr/>
          <a:lstStyle/>
          <a:p>
            <a:r>
              <a:rPr lang="is-IS" dirty="0"/>
              <a:t>Lífskjarasamningurinn 2019-2022</a:t>
            </a:r>
          </a:p>
        </p:txBody>
      </p:sp>
      <p:sp>
        <p:nvSpPr>
          <p:cNvPr id="19" name="Subtitle 20">
            <a:extLst>
              <a:ext uri="{FF2B5EF4-FFF2-40B4-BE49-F238E27FC236}">
                <a16:creationId xmlns:a16="http://schemas.microsoft.com/office/drawing/2014/main" id="{D322BC57-EE65-4A23-A587-3B2FB64A97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355" y="2532166"/>
            <a:ext cx="5695645" cy="407193"/>
          </a:xfrm>
        </p:spPr>
        <p:txBody>
          <a:bodyPr wrap="square">
            <a:noAutofit/>
          </a:bodyPr>
          <a:lstStyle/>
          <a:p>
            <a:r>
              <a:rPr lang="is-IS" sz="20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 Light" panose="020F0302020204030204" pitchFamily="34" charset="0"/>
              </a:rPr>
              <a:t>Varðstaða um kaupmátt launa, lægri verðbólgu og lægri vexti til frambúðar</a:t>
            </a:r>
            <a:endParaRPr lang="is-IS" sz="20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A7A3DEF-5DAF-46C2-A676-8BC76F2F267F}"/>
              </a:ext>
            </a:extLst>
          </p:cNvPr>
          <p:cNvSpPr/>
          <p:nvPr/>
        </p:nvSpPr>
        <p:spPr>
          <a:xfrm>
            <a:off x="0" y="5500689"/>
            <a:ext cx="7443788" cy="199072"/>
          </a:xfrm>
          <a:prstGeom prst="rect">
            <a:avLst/>
          </a:prstGeom>
          <a:solidFill>
            <a:srgbClr val="E306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E6E54AB-E918-43FD-97BC-EB89229BC0B0}"/>
              </a:ext>
            </a:extLst>
          </p:cNvPr>
          <p:cNvSpPr txBox="1">
            <a:spLocks/>
          </p:cNvSpPr>
          <p:nvPr/>
        </p:nvSpPr>
        <p:spPr bwMode="auto">
          <a:xfrm>
            <a:off x="400355" y="6064391"/>
            <a:ext cx="1964532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0" indent="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None/>
              <a:defRPr sz="2000" kern="1200">
                <a:solidFill>
                  <a:schemeClr val="accent3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s-IS" sz="18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3. apríl 2019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67C71B5-ED9A-4E21-A173-A1C815FD2955}"/>
              </a:ext>
            </a:extLst>
          </p:cNvPr>
          <p:cNvSpPr txBox="1">
            <a:spLocks/>
          </p:cNvSpPr>
          <p:nvPr/>
        </p:nvSpPr>
        <p:spPr bwMode="auto">
          <a:xfrm>
            <a:off x="400355" y="6353420"/>
            <a:ext cx="2987675" cy="257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0" indent="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None/>
              <a:defRPr sz="2000" kern="1200">
                <a:solidFill>
                  <a:schemeClr val="accent3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s-IS" sz="10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Birt með fyrirvara um prent- og reiknivillur</a:t>
            </a:r>
          </a:p>
        </p:txBody>
      </p:sp>
    </p:spTree>
    <p:extLst>
      <p:ext uri="{BB962C8B-B14F-4D97-AF65-F5344CB8AC3E}">
        <p14:creationId xmlns:p14="http://schemas.microsoft.com/office/powerpoint/2010/main" val="291084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828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12" descr="A person in a green field&#10;&#10;Description generated with very high confidence">
            <a:extLst>
              <a:ext uri="{FF2B5EF4-FFF2-40B4-BE49-F238E27FC236}">
                <a16:creationId xmlns:a16="http://schemas.microsoft.com/office/drawing/2014/main" id="{039ECAED-3F4F-4B23-AEF3-80023C5A8D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msett nálgun í fjögurra ára lífskjarasamningi</a:t>
            </a:r>
          </a:p>
        </p:txBody>
      </p:sp>
      <p:sp>
        <p:nvSpPr>
          <p:cNvPr id="30" name="Rectangle 29">
            <a:hlinkClick r:id="rId9" action="ppaction://hlinksldjump"/>
            <a:extLst>
              <a:ext uri="{FF2B5EF4-FFF2-40B4-BE49-F238E27FC236}">
                <a16:creationId xmlns:a16="http://schemas.microsoft.com/office/drawing/2014/main" id="{E4481118-4B77-4934-AD01-3257613F3801}"/>
              </a:ext>
            </a:extLst>
          </p:cNvPr>
          <p:cNvSpPr/>
          <p:nvPr/>
        </p:nvSpPr>
        <p:spPr>
          <a:xfrm>
            <a:off x="3679113" y="1268413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Hærri laun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Sérstök áhersla á kjarabætur tekjulágs launafólks 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49AAB0A-0F57-47D4-85A4-5541A0C054D1}"/>
              </a:ext>
            </a:extLst>
          </p:cNvPr>
          <p:cNvSpPr txBox="1"/>
          <p:nvPr/>
        </p:nvSpPr>
        <p:spPr>
          <a:xfrm>
            <a:off x="3840929" y="1315971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Rectangle 32">
            <a:hlinkClick r:id="rId10" action="ppaction://hlinksldjump"/>
            <a:extLst>
              <a:ext uri="{FF2B5EF4-FFF2-40B4-BE49-F238E27FC236}">
                <a16:creationId xmlns:a16="http://schemas.microsoft.com/office/drawing/2014/main" id="{9A259BB5-62BF-41AC-A34C-13661CFAC990}"/>
              </a:ext>
            </a:extLst>
          </p:cNvPr>
          <p:cNvSpPr/>
          <p:nvPr/>
        </p:nvSpPr>
        <p:spPr>
          <a:xfrm>
            <a:off x="3679113" y="2523804"/>
            <a:ext cx="4833775" cy="1080000"/>
          </a:xfrm>
          <a:prstGeom prst="rect">
            <a:avLst/>
          </a:prstGeom>
          <a:solidFill>
            <a:srgbClr val="FFFFFF"/>
          </a:solidFill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nn-NO" sz="2000" b="1" dirty="0">
                <a:solidFill>
                  <a:srgbClr val="B7CD2D"/>
                </a:solidFill>
                <a:latin typeface="+mj-lt"/>
                <a:cs typeface="Arial" panose="020B0604020202020204" pitchFamily="34" charset="0"/>
              </a:rPr>
              <a:t>Aukinn sveigjanleiki og meiri frítími</a:t>
            </a:r>
            <a:br>
              <a:rPr lang="is-IS" sz="2000" b="1" dirty="0">
                <a:solidFill>
                  <a:srgbClr val="B7CD2D"/>
                </a:solidFill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rgbClr val="B7CD2D"/>
                </a:solidFill>
                <a:latin typeface="+mj-lt"/>
                <a:cs typeface="Arial" panose="020B0604020202020204" pitchFamily="34" charset="0"/>
              </a:rPr>
              <a:t>- Styttri vinnutími, aukinn frítími og fjölskylduvænni vinnustaður -</a:t>
            </a:r>
            <a:endParaRPr lang="is-IS" sz="2000" i="1" dirty="0">
              <a:solidFill>
                <a:srgbClr val="B7CD2D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DFB252-5970-4F9E-ABB3-9B982C21EE91}"/>
              </a:ext>
            </a:extLst>
          </p:cNvPr>
          <p:cNvSpPr txBox="1"/>
          <p:nvPr/>
        </p:nvSpPr>
        <p:spPr>
          <a:xfrm>
            <a:off x="3840929" y="2571362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B7CD2D"/>
                </a:solidFill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Rectangle 37">
            <a:hlinkClick r:id="rId11" action="ppaction://hlinksldjump"/>
            <a:extLst>
              <a:ext uri="{FF2B5EF4-FFF2-40B4-BE49-F238E27FC236}">
                <a16:creationId xmlns:a16="http://schemas.microsoft.com/office/drawing/2014/main" id="{43246A88-0FCE-44BF-8763-894D11A9A7F9}"/>
              </a:ext>
            </a:extLst>
          </p:cNvPr>
          <p:cNvSpPr/>
          <p:nvPr/>
        </p:nvSpPr>
        <p:spPr>
          <a:xfrm>
            <a:off x="3679113" y="3779195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Lægri skattar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Aðgerðir stjórnvalda til að létta undir með tekjulágu launafólki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885ED-779F-4D85-A959-2BDD48A7E939}"/>
              </a:ext>
            </a:extLst>
          </p:cNvPr>
          <p:cNvSpPr txBox="1"/>
          <p:nvPr/>
        </p:nvSpPr>
        <p:spPr>
          <a:xfrm>
            <a:off x="3840929" y="3826753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0" name="Rectangle 39">
            <a:hlinkClick r:id="rId12" action="ppaction://hlinksldjump"/>
            <a:extLst>
              <a:ext uri="{FF2B5EF4-FFF2-40B4-BE49-F238E27FC236}">
                <a16:creationId xmlns:a16="http://schemas.microsoft.com/office/drawing/2014/main" id="{105B9D77-50E3-4017-B3A7-59F40598646E}"/>
              </a:ext>
            </a:extLst>
          </p:cNvPr>
          <p:cNvSpPr/>
          <p:nvPr/>
        </p:nvSpPr>
        <p:spPr>
          <a:xfrm>
            <a:off x="3679113" y="5002029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Lægri vextir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Lífskjarasamningur skapar skilyrði til vaxtalækkunar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FFF8BBF-4E8C-41BD-8AE4-4A9072BE2967}"/>
              </a:ext>
            </a:extLst>
          </p:cNvPr>
          <p:cNvSpPr txBox="1"/>
          <p:nvPr/>
        </p:nvSpPr>
        <p:spPr>
          <a:xfrm>
            <a:off x="3840929" y="5049587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951226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677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sz="2400" dirty="0">
                <a:solidFill>
                  <a:schemeClr val="accent3"/>
                </a:solidFill>
              </a:rPr>
              <a:t>Hrein stytting á vinnuviku verslunarmann um 45 mínútur á viku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FAC22C8-389D-43CD-AEDA-E6D466297880}"/>
              </a:ext>
            </a:extLst>
          </p:cNvPr>
          <p:cNvGrpSpPr/>
          <p:nvPr/>
        </p:nvGrpSpPr>
        <p:grpSpPr>
          <a:xfrm>
            <a:off x="693127" y="2188225"/>
            <a:ext cx="10805746" cy="3417205"/>
            <a:chOff x="693127" y="2188225"/>
            <a:chExt cx="10805746" cy="341720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155BC5A-3833-47BD-B72F-637A8EE2BC65}"/>
                </a:ext>
              </a:extLst>
            </p:cNvPr>
            <p:cNvSpPr/>
            <p:nvPr/>
          </p:nvSpPr>
          <p:spPr>
            <a:xfrm>
              <a:off x="693127" y="2188225"/>
              <a:ext cx="10805746" cy="298667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CCEE2E9-7ED6-425E-8988-D76FF2E6264E}"/>
                </a:ext>
              </a:extLst>
            </p:cNvPr>
            <p:cNvSpPr/>
            <p:nvPr/>
          </p:nvSpPr>
          <p:spPr>
            <a:xfrm>
              <a:off x="3057261" y="2373776"/>
              <a:ext cx="8014780" cy="32316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Frá 1. janúar 2020 þá styttist vinnuvikan hjá öllum verslunarmönnum um 45 mínútur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innuvikan hjá afgreiðslufólki verður 38 </a:t>
              </a:r>
              <a:r>
                <a:rPr lang="is-IS" dirty="0" err="1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klst</a:t>
              </a:r>
              <a:r>
                <a:rPr lang="is-IS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og 45 mínútur og virkur vinnutími 35 </a:t>
              </a:r>
              <a:r>
                <a:rPr lang="is-IS" dirty="0" err="1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klst</a:t>
              </a:r>
              <a:r>
                <a:rPr lang="is-IS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og 50 mínútur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innuvikan hjá skrifstofufólki verður 36 klst. og 45 mínútur og virkur vinnutími 35,5 </a:t>
              </a:r>
              <a:r>
                <a:rPr lang="is-IS" dirty="0" err="1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klst</a:t>
              </a:r>
              <a:endParaRPr lang="is-IS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Á ári er styttingin um 35,25 klst. eða tæpir 5 dagar (4 dagar og 5,85 klst.)</a:t>
              </a:r>
            </a:p>
            <a:p>
              <a:pPr>
                <a:spcBef>
                  <a:spcPts val="600"/>
                </a:spcBef>
                <a:buClr>
                  <a:schemeClr val="accent3"/>
                </a:buClr>
              </a:pPr>
              <a:endPara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endPara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endPara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5" name="Graphic 4" descr="Stopwatch">
              <a:extLst>
                <a:ext uri="{FF2B5EF4-FFF2-40B4-BE49-F238E27FC236}">
                  <a16:creationId xmlns:a16="http://schemas.microsoft.com/office/drawing/2014/main" id="{BA796450-A35A-4F90-A1F5-F73DBC562E9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23965" y="2525768"/>
              <a:ext cx="1806464" cy="18064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7005647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FC6BB6-65E5-41CD-81D9-4773CEDBC2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29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FC6BB6-65E5-41CD-81D9-4773CEDBC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DCAEB-858A-4671-9D37-EDE7E22830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A3157F0-D7EB-460F-8C99-8C7FAB856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Tíminn er dýrmætur: </a:t>
            </a:r>
            <a:r>
              <a:rPr lang="is-IS" dirty="0">
                <a:solidFill>
                  <a:schemeClr val="tx2"/>
                </a:solidFill>
              </a:rPr>
              <a:t>Sveigjanlegri og styttri vinnudagur gerir launafólki kleift að samræma vinnu og einkalíf betur en áður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B2DBD536-BA74-497D-BEB1-D5D948AFF592}"/>
              </a:ext>
            </a:extLst>
          </p:cNvPr>
          <p:cNvSpPr/>
          <p:nvPr/>
        </p:nvSpPr>
        <p:spPr>
          <a:xfrm>
            <a:off x="5149587" y="3600617"/>
            <a:ext cx="5820255" cy="2098219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4E907B8-B76A-4726-B569-DC6B8B61EBE4}"/>
              </a:ext>
            </a:extLst>
          </p:cNvPr>
          <p:cNvSpPr/>
          <p:nvPr/>
        </p:nvSpPr>
        <p:spPr>
          <a:xfrm>
            <a:off x="1222159" y="1628631"/>
            <a:ext cx="3697864" cy="4070205"/>
          </a:xfrm>
          <a:prstGeom prst="rect">
            <a:avLst/>
          </a:prstGeom>
          <a:solidFill>
            <a:schemeClr val="bg1"/>
          </a:solidFill>
          <a:ln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E4BA82E-8BCD-4B36-9A1A-ECEFBE645AAA}"/>
              </a:ext>
            </a:extLst>
          </p:cNvPr>
          <p:cNvSpPr/>
          <p:nvPr/>
        </p:nvSpPr>
        <p:spPr>
          <a:xfrm>
            <a:off x="1222159" y="1628633"/>
            <a:ext cx="3697864" cy="360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s-IS" sz="1600" b="1" dirty="0">
                <a:solidFill>
                  <a:schemeClr val="accent4"/>
                </a:solidFill>
              </a:rPr>
              <a:t>Sveigjanlegri og styttri vinnudagu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81A206E-16F1-49AD-8341-D3607F28A432}"/>
              </a:ext>
            </a:extLst>
          </p:cNvPr>
          <p:cNvSpPr/>
          <p:nvPr/>
        </p:nvSpPr>
        <p:spPr>
          <a:xfrm>
            <a:off x="6048142" y="3949535"/>
            <a:ext cx="4430826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is-IS" sz="1600" b="1" dirty="0">
                <a:solidFill>
                  <a:schemeClr val="accent3"/>
                </a:solidFill>
                <a:latin typeface="+mj-lt"/>
                <a:cs typeface="Calibri Light" panose="020F0302020204030204" pitchFamily="34" charset="0"/>
              </a:rPr>
              <a:t>Stytting vinnuvikunnar tekur gildi 1. janúar 2020</a:t>
            </a:r>
          </a:p>
          <a:p>
            <a:pPr>
              <a:spcBef>
                <a:spcPts val="600"/>
              </a:spcBef>
            </a:pPr>
            <a:r>
              <a: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tvinnurekendur og launamenn þurfa að vera búnir að semja um hvernig stytting á sér stað fyrir 1. desember 2019. Ef ekki næst samkomulag styttist hver dagur um 9 mínútur.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E1E26F6-11C1-4CA8-9B15-2E7F2DB7FAA6}"/>
              </a:ext>
            </a:extLst>
          </p:cNvPr>
          <p:cNvSpPr/>
          <p:nvPr/>
        </p:nvSpPr>
        <p:spPr>
          <a:xfrm>
            <a:off x="1435906" y="3013001"/>
            <a:ext cx="270000" cy="270000"/>
          </a:xfrm>
          <a:prstGeom prst="ellipse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/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FD55645-472F-4FB4-ADDF-FE2409F712CC}"/>
              </a:ext>
            </a:extLst>
          </p:cNvPr>
          <p:cNvSpPr/>
          <p:nvPr/>
        </p:nvSpPr>
        <p:spPr>
          <a:xfrm>
            <a:off x="1435906" y="3482732"/>
            <a:ext cx="270000" cy="270000"/>
          </a:xfrm>
          <a:prstGeom prst="ellipse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59956F6-37A7-45FD-A26E-4065D089832E}"/>
              </a:ext>
            </a:extLst>
          </p:cNvPr>
          <p:cNvSpPr/>
          <p:nvPr/>
        </p:nvSpPr>
        <p:spPr>
          <a:xfrm>
            <a:off x="1435906" y="3952464"/>
            <a:ext cx="270000" cy="270000"/>
          </a:xfrm>
          <a:prstGeom prst="ellipse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/>
              <a:t>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BAAAA61-55D9-4A01-9A87-2FEFEDCF482C}"/>
              </a:ext>
            </a:extLst>
          </p:cNvPr>
          <p:cNvSpPr txBox="1"/>
          <p:nvPr/>
        </p:nvSpPr>
        <p:spPr>
          <a:xfrm>
            <a:off x="1435906" y="2166938"/>
            <a:ext cx="3354809" cy="7232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eð því að gera vinnutíma fólks sveigjanlegri hagnast allir. </a:t>
            </a:r>
          </a:p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öguleikar á styttingu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82B60C-DAD9-49C3-B1DB-EB1D976B5228}"/>
              </a:ext>
            </a:extLst>
          </p:cNvPr>
          <p:cNvSpPr txBox="1"/>
          <p:nvPr/>
        </p:nvSpPr>
        <p:spPr>
          <a:xfrm>
            <a:off x="1902756" y="3040279"/>
            <a:ext cx="2850252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ætta fyrr á hverjum degi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F74A58-8E0A-4E9B-AB2D-BF049587BD30}"/>
              </a:ext>
            </a:extLst>
          </p:cNvPr>
          <p:cNvSpPr txBox="1"/>
          <p:nvPr/>
        </p:nvSpPr>
        <p:spPr>
          <a:xfrm>
            <a:off x="1902756" y="3504926"/>
            <a:ext cx="2850252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ætta fyrir hádegi á föstudögum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8881E3-EF6B-4810-B604-465BE1F30727}"/>
              </a:ext>
            </a:extLst>
          </p:cNvPr>
          <p:cNvSpPr txBox="1"/>
          <p:nvPr/>
        </p:nvSpPr>
        <p:spPr>
          <a:xfrm>
            <a:off x="1902756" y="3979742"/>
            <a:ext cx="2850252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afna upp fríi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CF46235-AF16-44A5-9ADA-59D783246A90}"/>
              </a:ext>
            </a:extLst>
          </p:cNvPr>
          <p:cNvSpPr/>
          <p:nvPr/>
        </p:nvSpPr>
        <p:spPr>
          <a:xfrm>
            <a:off x="1435906" y="4394918"/>
            <a:ext cx="270000" cy="270000"/>
          </a:xfrm>
          <a:prstGeom prst="ellipse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/>
              <a:t>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2DE4B24-5D08-4A26-8ECF-31F3A0C685DC}"/>
              </a:ext>
            </a:extLst>
          </p:cNvPr>
          <p:cNvSpPr txBox="1"/>
          <p:nvPr/>
        </p:nvSpPr>
        <p:spPr>
          <a:xfrm>
            <a:off x="1902756" y="4422196"/>
            <a:ext cx="2887959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chemeClr val="accent3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innutímastytting með öðrum hætti?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69C0E6-380B-4560-8DC5-2F0745A53EC7}"/>
              </a:ext>
            </a:extLst>
          </p:cNvPr>
          <p:cNvSpPr/>
          <p:nvPr/>
        </p:nvSpPr>
        <p:spPr>
          <a:xfrm>
            <a:off x="5149587" y="1628631"/>
            <a:ext cx="5820255" cy="1800369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EB5A266-3CFA-4EE4-951A-F1B0EFBF4D94}"/>
              </a:ext>
            </a:extLst>
          </p:cNvPr>
          <p:cNvGrpSpPr/>
          <p:nvPr/>
        </p:nvGrpSpPr>
        <p:grpSpPr>
          <a:xfrm>
            <a:off x="6555302" y="1740731"/>
            <a:ext cx="4381999" cy="1576169"/>
            <a:chOff x="6555302" y="1779203"/>
            <a:chExt cx="4381999" cy="1576169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75144C6-BACA-4CF9-ADE4-D19F4E971F2F}"/>
                </a:ext>
              </a:extLst>
            </p:cNvPr>
            <p:cNvSpPr/>
            <p:nvPr/>
          </p:nvSpPr>
          <p:spPr>
            <a:xfrm>
              <a:off x="6555302" y="1779203"/>
              <a:ext cx="182485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is-IS" sz="1600" b="1" dirty="0">
                  <a:solidFill>
                    <a:schemeClr val="accent5"/>
                  </a:solidFill>
                  <a:latin typeface="lulo-clean-w01-one-bold"/>
                </a:rPr>
                <a:t>Tilraunarinnar virði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B82423E-5DB5-4D27-B72D-5A20BA342D00}"/>
                </a:ext>
              </a:extLst>
            </p:cNvPr>
            <p:cNvSpPr/>
            <p:nvPr/>
          </p:nvSpPr>
          <p:spPr>
            <a:xfrm>
              <a:off x="6555302" y="2108877"/>
              <a:ext cx="4381999" cy="12464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5"/>
                </a:buClr>
                <a:buFont typeface="Wingdings" panose="05000000000000000000" pitchFamily="2" charset="2"/>
                <a:buChar char="§"/>
              </a:pPr>
              <a:r>
                <a:rPr lang="is-IS" sz="14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Á Íslandi er unnin mikil yfirvinna en hjá frændum okkar og frænkum á Norðurlöndum þekkist hún varla.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5"/>
                </a:buClr>
                <a:buFont typeface="Wingdings" panose="05000000000000000000" pitchFamily="2" charset="2"/>
                <a:buChar char="§"/>
              </a:pPr>
              <a:r>
                <a:rPr lang="is-IS" sz="14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Þessu viljum við breyta og gera íslenskan vinnumarkað fjölskylduvænni þar sem karlar og konur deila jafnri fjölskylduábyrgð.</a:t>
              </a:r>
            </a:p>
          </p:txBody>
        </p:sp>
      </p:grpSp>
      <p:grpSp>
        <p:nvGrpSpPr>
          <p:cNvPr id="23" name="Graphic 6">
            <a:extLst>
              <a:ext uri="{FF2B5EF4-FFF2-40B4-BE49-F238E27FC236}">
                <a16:creationId xmlns:a16="http://schemas.microsoft.com/office/drawing/2014/main" id="{E26B1202-C2B4-47F5-98D2-57A312AED833}"/>
              </a:ext>
            </a:extLst>
          </p:cNvPr>
          <p:cNvGrpSpPr/>
          <p:nvPr/>
        </p:nvGrpSpPr>
        <p:grpSpPr>
          <a:xfrm>
            <a:off x="5392352" y="1865190"/>
            <a:ext cx="1089890" cy="1356406"/>
            <a:chOff x="3358436" y="54170"/>
            <a:chExt cx="5469342" cy="6806782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33BB95A-0C7A-4C50-86D2-A9C67E748C4B}"/>
                </a:ext>
              </a:extLst>
            </p:cNvPr>
            <p:cNvSpPr/>
            <p:nvPr/>
          </p:nvSpPr>
          <p:spPr>
            <a:xfrm>
              <a:off x="3891742" y="227453"/>
              <a:ext cx="4150659" cy="5181600"/>
            </a:xfrm>
            <a:custGeom>
              <a:avLst/>
              <a:gdLst>
                <a:gd name="connsiteX0" fmla="*/ 347496 w 4150659"/>
                <a:gd name="connsiteY0" fmla="*/ 5121249 h 5181600"/>
                <a:gd name="connsiteX1" fmla="*/ 238665 w 4150659"/>
                <a:gd name="connsiteY1" fmla="*/ 5034381 h 5181600"/>
                <a:gd name="connsiteX2" fmla="*/ 217777 w 4150659"/>
                <a:gd name="connsiteY2" fmla="*/ 4772432 h 5181600"/>
                <a:gd name="connsiteX3" fmla="*/ 225397 w 4150659"/>
                <a:gd name="connsiteY3" fmla="*/ 4648092 h 5181600"/>
                <a:gd name="connsiteX4" fmla="*/ 95588 w 4150659"/>
                <a:gd name="connsiteY4" fmla="*/ 4663780 h 5181600"/>
                <a:gd name="connsiteX5" fmla="*/ 230059 w 4150659"/>
                <a:gd name="connsiteY5" fmla="*/ 4478300 h 5181600"/>
                <a:gd name="connsiteX6" fmla="*/ 226383 w 4150659"/>
                <a:gd name="connsiteY6" fmla="*/ 4397618 h 5181600"/>
                <a:gd name="connsiteX7" fmla="*/ 247719 w 4150659"/>
                <a:gd name="connsiteY7" fmla="*/ 4367766 h 5181600"/>
                <a:gd name="connsiteX8" fmla="*/ 140681 w 4150659"/>
                <a:gd name="connsiteY8" fmla="*/ 4370365 h 5181600"/>
                <a:gd name="connsiteX9" fmla="*/ 197069 w 4150659"/>
                <a:gd name="connsiteY9" fmla="*/ 4334775 h 5181600"/>
                <a:gd name="connsiteX10" fmla="*/ 194379 w 4150659"/>
                <a:gd name="connsiteY10" fmla="*/ 4285021 h 5181600"/>
                <a:gd name="connsiteX11" fmla="*/ 134495 w 4150659"/>
                <a:gd name="connsiteY11" fmla="*/ 4193850 h 5181600"/>
                <a:gd name="connsiteX12" fmla="*/ 159238 w 4150659"/>
                <a:gd name="connsiteY12" fmla="*/ 3933246 h 5181600"/>
                <a:gd name="connsiteX13" fmla="*/ 96574 w 4150659"/>
                <a:gd name="connsiteY13" fmla="*/ 3947141 h 5181600"/>
                <a:gd name="connsiteX14" fmla="*/ 147763 w 4150659"/>
                <a:gd name="connsiteY14" fmla="*/ 3809891 h 5181600"/>
                <a:gd name="connsiteX15" fmla="*/ 178781 w 4150659"/>
                <a:gd name="connsiteY15" fmla="*/ 3659912 h 5181600"/>
                <a:gd name="connsiteX16" fmla="*/ 228983 w 4150659"/>
                <a:gd name="connsiteY16" fmla="*/ 3592139 h 5181600"/>
                <a:gd name="connsiteX17" fmla="*/ 289943 w 4150659"/>
                <a:gd name="connsiteY17" fmla="*/ 3519525 h 5181600"/>
                <a:gd name="connsiteX18" fmla="*/ 318003 w 4150659"/>
                <a:gd name="connsiteY18" fmla="*/ 3443504 h 5181600"/>
                <a:gd name="connsiteX19" fmla="*/ 420021 w 4150659"/>
                <a:gd name="connsiteY19" fmla="*/ 3447538 h 5181600"/>
                <a:gd name="connsiteX20" fmla="*/ 471568 w 4150659"/>
                <a:gd name="connsiteY20" fmla="*/ 3375372 h 5181600"/>
                <a:gd name="connsiteX21" fmla="*/ 668971 w 4150659"/>
                <a:gd name="connsiteY21" fmla="*/ 3370173 h 5181600"/>
                <a:gd name="connsiteX22" fmla="*/ 652834 w 4150659"/>
                <a:gd name="connsiteY22" fmla="*/ 3243412 h 5181600"/>
                <a:gd name="connsiteX23" fmla="*/ 673364 w 4150659"/>
                <a:gd name="connsiteY23" fmla="*/ 3269230 h 5181600"/>
                <a:gd name="connsiteX24" fmla="*/ 890130 w 4150659"/>
                <a:gd name="connsiteY24" fmla="*/ 3184424 h 5181600"/>
                <a:gd name="connsiteX25" fmla="*/ 1015995 w 4150659"/>
                <a:gd name="connsiteY25" fmla="*/ 3066897 h 5181600"/>
                <a:gd name="connsiteX26" fmla="*/ 1025408 w 4150659"/>
                <a:gd name="connsiteY26" fmla="*/ 3102307 h 5181600"/>
                <a:gd name="connsiteX27" fmla="*/ 1117565 w 4150659"/>
                <a:gd name="connsiteY27" fmla="*/ 3166047 h 5181600"/>
                <a:gd name="connsiteX28" fmla="*/ 1276061 w 4150659"/>
                <a:gd name="connsiteY28" fmla="*/ 3126243 h 5181600"/>
                <a:gd name="connsiteX29" fmla="*/ 1338814 w 4150659"/>
                <a:gd name="connsiteY29" fmla="*/ 3025390 h 5181600"/>
                <a:gd name="connsiteX30" fmla="*/ 1408111 w 4150659"/>
                <a:gd name="connsiteY30" fmla="*/ 2915842 h 5181600"/>
                <a:gd name="connsiteX31" fmla="*/ 1205060 w 4150659"/>
                <a:gd name="connsiteY31" fmla="*/ 3097287 h 5181600"/>
                <a:gd name="connsiteX32" fmla="*/ 1119268 w 4150659"/>
                <a:gd name="connsiteY32" fmla="*/ 3015439 h 5181600"/>
                <a:gd name="connsiteX33" fmla="*/ 1167319 w 4150659"/>
                <a:gd name="connsiteY33" fmla="*/ 2897464 h 5181600"/>
                <a:gd name="connsiteX34" fmla="*/ 1308961 w 4150659"/>
                <a:gd name="connsiteY34" fmla="*/ 2761648 h 5181600"/>
                <a:gd name="connsiteX35" fmla="*/ 1392871 w 4150659"/>
                <a:gd name="connsiteY35" fmla="*/ 2773841 h 5181600"/>
                <a:gd name="connsiteX36" fmla="*/ 1372431 w 4150659"/>
                <a:gd name="connsiteY36" fmla="*/ 2717632 h 5181600"/>
                <a:gd name="connsiteX37" fmla="*/ 1395650 w 4150659"/>
                <a:gd name="connsiteY37" fmla="*/ 2633901 h 5181600"/>
                <a:gd name="connsiteX38" fmla="*/ 1379244 w 4150659"/>
                <a:gd name="connsiteY38" fmla="*/ 2534662 h 5181600"/>
                <a:gd name="connsiteX39" fmla="*/ 1608024 w 4150659"/>
                <a:gd name="connsiteY39" fmla="*/ 2494948 h 5181600"/>
                <a:gd name="connsiteX40" fmla="*/ 1585254 w 4150659"/>
                <a:gd name="connsiteY40" fmla="*/ 2313055 h 5181600"/>
                <a:gd name="connsiteX41" fmla="*/ 1603541 w 4150659"/>
                <a:gd name="connsiteY41" fmla="*/ 2102832 h 5181600"/>
                <a:gd name="connsiteX42" fmla="*/ 1703857 w 4150659"/>
                <a:gd name="connsiteY42" fmla="*/ 2006282 h 5181600"/>
                <a:gd name="connsiteX43" fmla="*/ 1674094 w 4150659"/>
                <a:gd name="connsiteY43" fmla="*/ 1952494 h 5181600"/>
                <a:gd name="connsiteX44" fmla="*/ 1727523 w 4150659"/>
                <a:gd name="connsiteY44" fmla="*/ 1912601 h 5181600"/>
                <a:gd name="connsiteX45" fmla="*/ 1759886 w 4150659"/>
                <a:gd name="connsiteY45" fmla="*/ 1848504 h 5181600"/>
                <a:gd name="connsiteX46" fmla="*/ 1794042 w 4150659"/>
                <a:gd name="connsiteY46" fmla="*/ 1790323 h 5181600"/>
                <a:gd name="connsiteX47" fmla="*/ 1984542 w 4150659"/>
                <a:gd name="connsiteY47" fmla="*/ 1571673 h 5181600"/>
                <a:gd name="connsiteX48" fmla="*/ 2056438 w 4150659"/>
                <a:gd name="connsiteY48" fmla="*/ 1479247 h 5181600"/>
                <a:gd name="connsiteX49" fmla="*/ 2051329 w 4150659"/>
                <a:gd name="connsiteY49" fmla="*/ 1424742 h 5181600"/>
                <a:gd name="connsiteX50" fmla="*/ 2112827 w 4150659"/>
                <a:gd name="connsiteY50" fmla="*/ 1309545 h 5181600"/>
                <a:gd name="connsiteX51" fmla="*/ 2184813 w 4150659"/>
                <a:gd name="connsiteY51" fmla="*/ 1362079 h 5181600"/>
                <a:gd name="connsiteX52" fmla="*/ 2190102 w 4150659"/>
                <a:gd name="connsiteY52" fmla="*/ 1276824 h 5181600"/>
                <a:gd name="connsiteX53" fmla="*/ 2199157 w 4150659"/>
                <a:gd name="connsiteY53" fmla="*/ 1242489 h 5181600"/>
                <a:gd name="connsiteX54" fmla="*/ 2357115 w 4150659"/>
                <a:gd name="connsiteY54" fmla="*/ 1183860 h 5181600"/>
                <a:gd name="connsiteX55" fmla="*/ 2189564 w 4150659"/>
                <a:gd name="connsiteY55" fmla="*/ 1169965 h 5181600"/>
                <a:gd name="connsiteX56" fmla="*/ 2102607 w 4150659"/>
                <a:gd name="connsiteY56" fmla="*/ 1263915 h 5181600"/>
                <a:gd name="connsiteX57" fmla="*/ 1807489 w 4150659"/>
                <a:gd name="connsiteY57" fmla="*/ 1354548 h 5181600"/>
                <a:gd name="connsiteX58" fmla="*/ 1726717 w 4150659"/>
                <a:gd name="connsiteY58" fmla="*/ 1352755 h 5181600"/>
                <a:gd name="connsiteX59" fmla="*/ 1925195 w 4150659"/>
                <a:gd name="connsiteY59" fmla="*/ 1247689 h 5181600"/>
                <a:gd name="connsiteX60" fmla="*/ 2092208 w 4150659"/>
                <a:gd name="connsiteY60" fmla="*/ 1060595 h 5181600"/>
                <a:gd name="connsiteX61" fmla="*/ 2145189 w 4150659"/>
                <a:gd name="connsiteY61" fmla="*/ 980810 h 5181600"/>
                <a:gd name="connsiteX62" fmla="*/ 2149134 w 4150659"/>
                <a:gd name="connsiteY62" fmla="*/ 1038722 h 5181600"/>
                <a:gd name="connsiteX63" fmla="*/ 2184993 w 4150659"/>
                <a:gd name="connsiteY63" fmla="*/ 1081125 h 5181600"/>
                <a:gd name="connsiteX64" fmla="*/ 2327262 w 4150659"/>
                <a:gd name="connsiteY64" fmla="*/ 1095916 h 5181600"/>
                <a:gd name="connsiteX65" fmla="*/ 2374148 w 4150659"/>
                <a:gd name="connsiteY65" fmla="*/ 1040694 h 5181600"/>
                <a:gd name="connsiteX66" fmla="*/ 2320808 w 4150659"/>
                <a:gd name="connsiteY66" fmla="*/ 969873 h 5181600"/>
                <a:gd name="connsiteX67" fmla="*/ 2276163 w 4150659"/>
                <a:gd name="connsiteY67" fmla="*/ 872247 h 5181600"/>
                <a:gd name="connsiteX68" fmla="*/ 2411710 w 4150659"/>
                <a:gd name="connsiteY68" fmla="*/ 770139 h 5181600"/>
                <a:gd name="connsiteX69" fmla="*/ 2527534 w 4150659"/>
                <a:gd name="connsiteY69" fmla="*/ 846339 h 5181600"/>
                <a:gd name="connsiteX70" fmla="*/ 2490420 w 4150659"/>
                <a:gd name="connsiteY70" fmla="*/ 707296 h 5181600"/>
                <a:gd name="connsiteX71" fmla="*/ 2579619 w 4150659"/>
                <a:gd name="connsiteY71" fmla="*/ 682016 h 5181600"/>
                <a:gd name="connsiteX72" fmla="*/ 2632959 w 4150659"/>
                <a:gd name="connsiteY72" fmla="*/ 652970 h 5181600"/>
                <a:gd name="connsiteX73" fmla="*/ 2732288 w 4150659"/>
                <a:gd name="connsiteY73" fmla="*/ 590576 h 5181600"/>
                <a:gd name="connsiteX74" fmla="*/ 2766981 w 4150659"/>
                <a:gd name="connsiteY74" fmla="*/ 656198 h 5181600"/>
                <a:gd name="connsiteX75" fmla="*/ 2783297 w 4150659"/>
                <a:gd name="connsiteY75" fmla="*/ 551311 h 5181600"/>
                <a:gd name="connsiteX76" fmla="*/ 2795130 w 4150659"/>
                <a:gd name="connsiteY76" fmla="*/ 560455 h 5181600"/>
                <a:gd name="connsiteX77" fmla="*/ 2852684 w 4150659"/>
                <a:gd name="connsiteY77" fmla="*/ 552835 h 5181600"/>
                <a:gd name="connsiteX78" fmla="*/ 2815928 w 4150659"/>
                <a:gd name="connsiteY78" fmla="*/ 470449 h 5181600"/>
                <a:gd name="connsiteX79" fmla="*/ 3062368 w 4150659"/>
                <a:gd name="connsiteY79" fmla="*/ 472511 h 5181600"/>
                <a:gd name="connsiteX80" fmla="*/ 3119473 w 4150659"/>
                <a:gd name="connsiteY80" fmla="*/ 537057 h 5181600"/>
                <a:gd name="connsiteX81" fmla="*/ 3163042 w 4150659"/>
                <a:gd name="connsiteY81" fmla="*/ 321724 h 5181600"/>
                <a:gd name="connsiteX82" fmla="*/ 3045963 w 4150659"/>
                <a:gd name="connsiteY82" fmla="*/ 353101 h 5181600"/>
                <a:gd name="connsiteX83" fmla="*/ 3205355 w 4150659"/>
                <a:gd name="connsiteY83" fmla="*/ 264350 h 5181600"/>
                <a:gd name="connsiteX84" fmla="*/ 3238166 w 4150659"/>
                <a:gd name="connsiteY84" fmla="*/ 167576 h 5181600"/>
                <a:gd name="connsiteX85" fmla="*/ 3332833 w 4150659"/>
                <a:gd name="connsiteY85" fmla="*/ 120189 h 5181600"/>
                <a:gd name="connsiteX86" fmla="*/ 3405537 w 4150659"/>
                <a:gd name="connsiteY86" fmla="*/ 78100 h 5181600"/>
                <a:gd name="connsiteX87" fmla="*/ 3401683 w 4150659"/>
                <a:gd name="connsiteY87" fmla="*/ 143829 h 5181600"/>
                <a:gd name="connsiteX88" fmla="*/ 3374250 w 4150659"/>
                <a:gd name="connsiteY88" fmla="*/ 405724 h 5181600"/>
                <a:gd name="connsiteX89" fmla="*/ 3492585 w 4150659"/>
                <a:gd name="connsiteY89" fmla="*/ 197590 h 5181600"/>
                <a:gd name="connsiteX90" fmla="*/ 3562958 w 4150659"/>
                <a:gd name="connsiteY90" fmla="*/ 210302 h 5181600"/>
                <a:gd name="connsiteX91" fmla="*/ 3558565 w 4150659"/>
                <a:gd name="connsiteY91" fmla="*/ 44043 h 5181600"/>
                <a:gd name="connsiteX92" fmla="*/ 3657356 w 4150659"/>
                <a:gd name="connsiteY92" fmla="*/ 124707 h 5181600"/>
                <a:gd name="connsiteX93" fmla="*/ 3719033 w 4150659"/>
                <a:gd name="connsiteY93" fmla="*/ 144447 h 5181600"/>
                <a:gd name="connsiteX94" fmla="*/ 3752471 w 4150659"/>
                <a:gd name="connsiteY94" fmla="*/ 90202 h 5181600"/>
                <a:gd name="connsiteX95" fmla="*/ 3943509 w 4150659"/>
                <a:gd name="connsiteY95" fmla="*/ 91825 h 5181600"/>
                <a:gd name="connsiteX96" fmla="*/ 4103260 w 4150659"/>
                <a:gd name="connsiteY96" fmla="*/ 181301 h 5181600"/>
                <a:gd name="connsiteX97" fmla="*/ 3818900 w 4150659"/>
                <a:gd name="connsiteY97" fmla="*/ 358121 h 5181600"/>
                <a:gd name="connsiteX98" fmla="*/ 4031901 w 4150659"/>
                <a:gd name="connsiteY98" fmla="*/ 403662 h 5181600"/>
                <a:gd name="connsiteX99" fmla="*/ 4057540 w 4150659"/>
                <a:gd name="connsiteY99" fmla="*/ 500391 h 5181600"/>
                <a:gd name="connsiteX100" fmla="*/ 3952922 w 4150659"/>
                <a:gd name="connsiteY100" fmla="*/ 765926 h 5181600"/>
                <a:gd name="connsiteX101" fmla="*/ 3818721 w 4150659"/>
                <a:gd name="connsiteY101" fmla="*/ 484344 h 5181600"/>
                <a:gd name="connsiteX102" fmla="*/ 3542428 w 4150659"/>
                <a:gd name="connsiteY102" fmla="*/ 501646 h 5181600"/>
                <a:gd name="connsiteX103" fmla="*/ 3422660 w 4150659"/>
                <a:gd name="connsiteY103" fmla="*/ 1042487 h 5181600"/>
                <a:gd name="connsiteX104" fmla="*/ 3162235 w 4150659"/>
                <a:gd name="connsiteY104" fmla="*/ 1057816 h 5181600"/>
                <a:gd name="connsiteX105" fmla="*/ 2858511 w 4150659"/>
                <a:gd name="connsiteY105" fmla="*/ 894121 h 5181600"/>
                <a:gd name="connsiteX106" fmla="*/ 2771195 w 4150659"/>
                <a:gd name="connsiteY106" fmla="*/ 1032446 h 5181600"/>
                <a:gd name="connsiteX107" fmla="*/ 2601762 w 4150659"/>
                <a:gd name="connsiteY107" fmla="*/ 1180185 h 5181600"/>
                <a:gd name="connsiteX108" fmla="*/ 2374596 w 4150659"/>
                <a:gd name="connsiteY108" fmla="*/ 1343163 h 5181600"/>
                <a:gd name="connsiteX109" fmla="*/ 2226141 w 4150659"/>
                <a:gd name="connsiteY109" fmla="*/ 1749892 h 5181600"/>
                <a:gd name="connsiteX110" fmla="*/ 1950296 w 4150659"/>
                <a:gd name="connsiteY110" fmla="*/ 2128292 h 5181600"/>
                <a:gd name="connsiteX111" fmla="*/ 1801841 w 4150659"/>
                <a:gd name="connsiteY111" fmla="*/ 2709474 h 5181600"/>
                <a:gd name="connsiteX112" fmla="*/ 1709235 w 4150659"/>
                <a:gd name="connsiteY112" fmla="*/ 2902843 h 5181600"/>
                <a:gd name="connsiteX113" fmla="*/ 1526266 w 4150659"/>
                <a:gd name="connsiteY113" fmla="*/ 3309123 h 5181600"/>
                <a:gd name="connsiteX114" fmla="*/ 1525459 w 4150659"/>
                <a:gd name="connsiteY114" fmla="*/ 3670759 h 5181600"/>
                <a:gd name="connsiteX115" fmla="*/ 1553877 w 4150659"/>
                <a:gd name="connsiteY115" fmla="*/ 4079191 h 5181600"/>
                <a:gd name="connsiteX116" fmla="*/ 1419048 w 4150659"/>
                <a:gd name="connsiteY116" fmla="*/ 4534329 h 5181600"/>
                <a:gd name="connsiteX117" fmla="*/ 1302327 w 4150659"/>
                <a:gd name="connsiteY117" fmla="*/ 4906454 h 5181600"/>
                <a:gd name="connsiteX118" fmla="*/ 1169829 w 4150659"/>
                <a:gd name="connsiteY118" fmla="*/ 4728595 h 5181600"/>
                <a:gd name="connsiteX119" fmla="*/ 1084395 w 4150659"/>
                <a:gd name="connsiteY119" fmla="*/ 4798072 h 5181600"/>
                <a:gd name="connsiteX120" fmla="*/ 820923 w 4150659"/>
                <a:gd name="connsiteY120" fmla="*/ 4973331 h 5181600"/>
                <a:gd name="connsiteX121" fmla="*/ 486987 w 4150659"/>
                <a:gd name="connsiteY121" fmla="*/ 5176651 h 5181600"/>
                <a:gd name="connsiteX122" fmla="*/ 347496 w 4150659"/>
                <a:gd name="connsiteY122" fmla="*/ 5121249 h 5181600"/>
                <a:gd name="connsiteX123" fmla="*/ 379142 w 4150659"/>
                <a:gd name="connsiteY123" fmla="*/ 4230068 h 5181600"/>
                <a:gd name="connsiteX124" fmla="*/ 379142 w 4150659"/>
                <a:gd name="connsiteY124" fmla="*/ 4230068 h 5181600"/>
                <a:gd name="connsiteX125" fmla="*/ 136109 w 4150659"/>
                <a:gd name="connsiteY125" fmla="*/ 4250955 h 5181600"/>
                <a:gd name="connsiteX126" fmla="*/ 136109 w 4150659"/>
                <a:gd name="connsiteY126" fmla="*/ 4250955 h 5181600"/>
                <a:gd name="connsiteX127" fmla="*/ 443598 w 4150659"/>
                <a:gd name="connsiteY127" fmla="*/ 4213393 h 5181600"/>
                <a:gd name="connsiteX128" fmla="*/ 443598 w 4150659"/>
                <a:gd name="connsiteY128" fmla="*/ 4213393 h 5181600"/>
                <a:gd name="connsiteX129" fmla="*/ 133509 w 4150659"/>
                <a:gd name="connsiteY129" fmla="*/ 4052297 h 5181600"/>
                <a:gd name="connsiteX130" fmla="*/ 133509 w 4150659"/>
                <a:gd name="connsiteY130" fmla="*/ 4052297 h 5181600"/>
                <a:gd name="connsiteX131" fmla="*/ 176450 w 4150659"/>
                <a:gd name="connsiteY131" fmla="*/ 4038761 h 5181600"/>
                <a:gd name="connsiteX132" fmla="*/ 176450 w 4150659"/>
                <a:gd name="connsiteY132" fmla="*/ 4038761 h 5181600"/>
                <a:gd name="connsiteX133" fmla="*/ 509489 w 4150659"/>
                <a:gd name="connsiteY133" fmla="*/ 3964802 h 5181600"/>
                <a:gd name="connsiteX134" fmla="*/ 324816 w 4150659"/>
                <a:gd name="connsiteY134" fmla="*/ 3925985 h 5181600"/>
                <a:gd name="connsiteX135" fmla="*/ 509489 w 4150659"/>
                <a:gd name="connsiteY135" fmla="*/ 3964802 h 5181600"/>
                <a:gd name="connsiteX136" fmla="*/ 294694 w 4150659"/>
                <a:gd name="connsiteY136" fmla="*/ 3934411 h 5181600"/>
                <a:gd name="connsiteX137" fmla="*/ 294694 w 4150659"/>
                <a:gd name="connsiteY137" fmla="*/ 3934411 h 5181600"/>
                <a:gd name="connsiteX138" fmla="*/ 383893 w 4150659"/>
                <a:gd name="connsiteY138" fmla="*/ 3674076 h 5181600"/>
                <a:gd name="connsiteX139" fmla="*/ 383893 w 4150659"/>
                <a:gd name="connsiteY139" fmla="*/ 3674076 h 5181600"/>
                <a:gd name="connsiteX140" fmla="*/ 332794 w 4150659"/>
                <a:gd name="connsiteY140" fmla="*/ 3644134 h 5181600"/>
                <a:gd name="connsiteX141" fmla="*/ 332794 w 4150659"/>
                <a:gd name="connsiteY141" fmla="*/ 3644134 h 5181600"/>
                <a:gd name="connsiteX142" fmla="*/ 380756 w 4150659"/>
                <a:gd name="connsiteY142" fmla="*/ 3554577 h 5181600"/>
                <a:gd name="connsiteX143" fmla="*/ 380756 w 4150659"/>
                <a:gd name="connsiteY143" fmla="*/ 3554577 h 5181600"/>
                <a:gd name="connsiteX144" fmla="*/ 594833 w 4150659"/>
                <a:gd name="connsiteY144" fmla="*/ 3517463 h 5181600"/>
                <a:gd name="connsiteX145" fmla="*/ 594833 w 4150659"/>
                <a:gd name="connsiteY145" fmla="*/ 3517463 h 5181600"/>
                <a:gd name="connsiteX146" fmla="*/ 572331 w 4150659"/>
                <a:gd name="connsiteY146" fmla="*/ 3469322 h 5181600"/>
                <a:gd name="connsiteX147" fmla="*/ 572331 w 4150659"/>
                <a:gd name="connsiteY147" fmla="*/ 3469322 h 5181600"/>
                <a:gd name="connsiteX148" fmla="*/ 708057 w 4150659"/>
                <a:gd name="connsiteY148" fmla="*/ 3417596 h 5181600"/>
                <a:gd name="connsiteX149" fmla="*/ 708057 w 4150659"/>
                <a:gd name="connsiteY149" fmla="*/ 3417596 h 5181600"/>
                <a:gd name="connsiteX150" fmla="*/ 843693 w 4150659"/>
                <a:gd name="connsiteY150" fmla="*/ 3356636 h 5181600"/>
                <a:gd name="connsiteX151" fmla="*/ 843693 w 4150659"/>
                <a:gd name="connsiteY151" fmla="*/ 3356636 h 5181600"/>
                <a:gd name="connsiteX152" fmla="*/ 797435 w 4150659"/>
                <a:gd name="connsiteY152" fmla="*/ 3278912 h 5181600"/>
                <a:gd name="connsiteX153" fmla="*/ 797435 w 4150659"/>
                <a:gd name="connsiteY153" fmla="*/ 3278912 h 5181600"/>
                <a:gd name="connsiteX154" fmla="*/ 861353 w 4150659"/>
                <a:gd name="connsiteY154" fmla="*/ 3289759 h 5181600"/>
                <a:gd name="connsiteX155" fmla="*/ 861353 w 4150659"/>
                <a:gd name="connsiteY155" fmla="*/ 3289759 h 5181600"/>
                <a:gd name="connsiteX156" fmla="*/ 826212 w 4150659"/>
                <a:gd name="connsiteY156" fmla="*/ 3249328 h 5181600"/>
                <a:gd name="connsiteX157" fmla="*/ 826212 w 4150659"/>
                <a:gd name="connsiteY157" fmla="*/ 3249328 h 5181600"/>
                <a:gd name="connsiteX158" fmla="*/ 737461 w 4150659"/>
                <a:gd name="connsiteY158" fmla="*/ 3215532 h 5181600"/>
                <a:gd name="connsiteX159" fmla="*/ 737461 w 4150659"/>
                <a:gd name="connsiteY159" fmla="*/ 3215532 h 5181600"/>
                <a:gd name="connsiteX160" fmla="*/ 839838 w 4150659"/>
                <a:gd name="connsiteY160" fmla="*/ 3208987 h 5181600"/>
                <a:gd name="connsiteX161" fmla="*/ 839838 w 4150659"/>
                <a:gd name="connsiteY161" fmla="*/ 3208987 h 5181600"/>
                <a:gd name="connsiteX162" fmla="*/ 909046 w 4150659"/>
                <a:gd name="connsiteY162" fmla="*/ 3103383 h 5181600"/>
                <a:gd name="connsiteX163" fmla="*/ 909046 w 4150659"/>
                <a:gd name="connsiteY163" fmla="*/ 3103383 h 5181600"/>
                <a:gd name="connsiteX164" fmla="*/ 1637518 w 4150659"/>
                <a:gd name="connsiteY164" fmla="*/ 2477378 h 5181600"/>
                <a:gd name="connsiteX165" fmla="*/ 1637518 w 4150659"/>
                <a:gd name="connsiteY165" fmla="*/ 2477378 h 5181600"/>
                <a:gd name="connsiteX166" fmla="*/ 1634470 w 4150659"/>
                <a:gd name="connsiteY166" fmla="*/ 2238558 h 5181600"/>
                <a:gd name="connsiteX167" fmla="*/ 1634470 w 4150659"/>
                <a:gd name="connsiteY167" fmla="*/ 2238558 h 5181600"/>
                <a:gd name="connsiteX168" fmla="*/ 1642986 w 4150659"/>
                <a:gd name="connsiteY168" fmla="*/ 2150525 h 5181600"/>
                <a:gd name="connsiteX169" fmla="*/ 1642986 w 4150659"/>
                <a:gd name="connsiteY169" fmla="*/ 2150525 h 5181600"/>
                <a:gd name="connsiteX170" fmla="*/ 1701884 w 4150659"/>
                <a:gd name="connsiteY170" fmla="*/ 2117534 h 5181600"/>
                <a:gd name="connsiteX171" fmla="*/ 1701884 w 4150659"/>
                <a:gd name="connsiteY171" fmla="*/ 2117534 h 5181600"/>
                <a:gd name="connsiteX172" fmla="*/ 1825866 w 4150659"/>
                <a:gd name="connsiteY172" fmla="*/ 2060250 h 5181600"/>
                <a:gd name="connsiteX173" fmla="*/ 1825866 w 4150659"/>
                <a:gd name="connsiteY173" fmla="*/ 2060250 h 5181600"/>
                <a:gd name="connsiteX174" fmla="*/ 1863608 w 4150659"/>
                <a:gd name="connsiteY174" fmla="*/ 2051285 h 5181600"/>
                <a:gd name="connsiteX175" fmla="*/ 1863608 w 4150659"/>
                <a:gd name="connsiteY175" fmla="*/ 2051285 h 5181600"/>
                <a:gd name="connsiteX176" fmla="*/ 1773871 w 4150659"/>
                <a:gd name="connsiteY176" fmla="*/ 2035418 h 5181600"/>
                <a:gd name="connsiteX177" fmla="*/ 1773871 w 4150659"/>
                <a:gd name="connsiteY177" fmla="*/ 2035418 h 5181600"/>
                <a:gd name="connsiteX178" fmla="*/ 1797896 w 4150659"/>
                <a:gd name="connsiteY178" fmla="*/ 1947564 h 5181600"/>
                <a:gd name="connsiteX179" fmla="*/ 1797896 w 4150659"/>
                <a:gd name="connsiteY179" fmla="*/ 1947564 h 5181600"/>
                <a:gd name="connsiteX180" fmla="*/ 2082078 w 4150659"/>
                <a:gd name="connsiteY180" fmla="*/ 1696910 h 5181600"/>
                <a:gd name="connsiteX181" fmla="*/ 2082078 w 4150659"/>
                <a:gd name="connsiteY181" fmla="*/ 1696910 h 5181600"/>
                <a:gd name="connsiteX182" fmla="*/ 1972081 w 4150659"/>
                <a:gd name="connsiteY182" fmla="*/ 1672975 h 5181600"/>
                <a:gd name="connsiteX183" fmla="*/ 1972081 w 4150659"/>
                <a:gd name="connsiteY183" fmla="*/ 1672975 h 5181600"/>
                <a:gd name="connsiteX184" fmla="*/ 2099559 w 4150659"/>
                <a:gd name="connsiteY184" fmla="*/ 1577859 h 5181600"/>
                <a:gd name="connsiteX185" fmla="*/ 2099559 w 4150659"/>
                <a:gd name="connsiteY185" fmla="*/ 1577859 h 5181600"/>
                <a:gd name="connsiteX186" fmla="*/ 2153168 w 4150659"/>
                <a:gd name="connsiteY186" fmla="*/ 1372478 h 5181600"/>
                <a:gd name="connsiteX187" fmla="*/ 2153168 w 4150659"/>
                <a:gd name="connsiteY187" fmla="*/ 1372478 h 5181600"/>
                <a:gd name="connsiteX188" fmla="*/ 2372713 w 4150659"/>
                <a:gd name="connsiteY188" fmla="*/ 1101206 h 5181600"/>
                <a:gd name="connsiteX189" fmla="*/ 2372713 w 4150659"/>
                <a:gd name="connsiteY189" fmla="*/ 1101206 h 5181600"/>
                <a:gd name="connsiteX190" fmla="*/ 2442907 w 4150659"/>
                <a:gd name="connsiteY190" fmla="*/ 909630 h 5181600"/>
                <a:gd name="connsiteX191" fmla="*/ 2442907 w 4150659"/>
                <a:gd name="connsiteY191" fmla="*/ 909630 h 5181600"/>
                <a:gd name="connsiteX192" fmla="*/ 2626594 w 4150659"/>
                <a:gd name="connsiteY192" fmla="*/ 861669 h 5181600"/>
                <a:gd name="connsiteX193" fmla="*/ 2626594 w 4150659"/>
                <a:gd name="connsiteY193" fmla="*/ 861669 h 5181600"/>
                <a:gd name="connsiteX194" fmla="*/ 2608306 w 4150659"/>
                <a:gd name="connsiteY194" fmla="*/ 834685 h 5181600"/>
                <a:gd name="connsiteX195" fmla="*/ 2608306 w 4150659"/>
                <a:gd name="connsiteY195" fmla="*/ 834685 h 5181600"/>
                <a:gd name="connsiteX196" fmla="*/ 2565724 w 4150659"/>
                <a:gd name="connsiteY196" fmla="*/ 807791 h 5181600"/>
                <a:gd name="connsiteX197" fmla="*/ 2565724 w 4150659"/>
                <a:gd name="connsiteY197" fmla="*/ 807791 h 5181600"/>
                <a:gd name="connsiteX198" fmla="*/ 2906113 w 4150659"/>
                <a:gd name="connsiteY198" fmla="*/ 444093 h 5181600"/>
                <a:gd name="connsiteX199" fmla="*/ 2906113 w 4150659"/>
                <a:gd name="connsiteY199" fmla="*/ 444093 h 5181600"/>
                <a:gd name="connsiteX200" fmla="*/ 3986988 w 4150659"/>
                <a:gd name="connsiteY200" fmla="*/ 429032 h 5181600"/>
                <a:gd name="connsiteX201" fmla="*/ 3986988 w 4150659"/>
                <a:gd name="connsiteY201" fmla="*/ 429032 h 5181600"/>
                <a:gd name="connsiteX202" fmla="*/ 158072 w 4150659"/>
                <a:gd name="connsiteY202" fmla="*/ 4718823 h 5181600"/>
                <a:gd name="connsiteX203" fmla="*/ 158072 w 4150659"/>
                <a:gd name="connsiteY203" fmla="*/ 4718823 h 5181600"/>
                <a:gd name="connsiteX204" fmla="*/ 10782 w 4150659"/>
                <a:gd name="connsiteY204" fmla="*/ 4616895 h 5181600"/>
                <a:gd name="connsiteX205" fmla="*/ 10782 w 4150659"/>
                <a:gd name="connsiteY205" fmla="*/ 4616895 h 5181600"/>
                <a:gd name="connsiteX206" fmla="*/ 86175 w 4150659"/>
                <a:gd name="connsiteY206" fmla="*/ 4476418 h 5181600"/>
                <a:gd name="connsiteX207" fmla="*/ 86175 w 4150659"/>
                <a:gd name="connsiteY207" fmla="*/ 4476418 h 5181600"/>
                <a:gd name="connsiteX208" fmla="*/ 93257 w 4150659"/>
                <a:gd name="connsiteY208" fmla="*/ 4354767 h 5181600"/>
                <a:gd name="connsiteX209" fmla="*/ 93257 w 4150659"/>
                <a:gd name="connsiteY209" fmla="*/ 4354767 h 5181600"/>
                <a:gd name="connsiteX210" fmla="*/ 270669 w 4150659"/>
                <a:gd name="connsiteY210" fmla="*/ 4335403 h 5181600"/>
                <a:gd name="connsiteX211" fmla="*/ 270669 w 4150659"/>
                <a:gd name="connsiteY211" fmla="*/ 4335403 h 5181600"/>
                <a:gd name="connsiteX212" fmla="*/ 85010 w 4150659"/>
                <a:gd name="connsiteY212" fmla="*/ 4146516 h 5181600"/>
                <a:gd name="connsiteX213" fmla="*/ 85010 w 4150659"/>
                <a:gd name="connsiteY213" fmla="*/ 4146516 h 5181600"/>
                <a:gd name="connsiteX214" fmla="*/ 69322 w 4150659"/>
                <a:gd name="connsiteY214" fmla="*/ 4043781 h 5181600"/>
                <a:gd name="connsiteX215" fmla="*/ 69322 w 4150659"/>
                <a:gd name="connsiteY215" fmla="*/ 4043781 h 5181600"/>
                <a:gd name="connsiteX216" fmla="*/ 149197 w 4150659"/>
                <a:gd name="connsiteY216" fmla="*/ 3696040 h 5181600"/>
                <a:gd name="connsiteX217" fmla="*/ 149197 w 4150659"/>
                <a:gd name="connsiteY217" fmla="*/ 3696040 h 5181600"/>
                <a:gd name="connsiteX218" fmla="*/ 198234 w 4150659"/>
                <a:gd name="connsiteY218" fmla="*/ 3591691 h 5181600"/>
                <a:gd name="connsiteX219" fmla="*/ 198234 w 4150659"/>
                <a:gd name="connsiteY219" fmla="*/ 3591691 h 5181600"/>
                <a:gd name="connsiteX220" fmla="*/ 284923 w 4150659"/>
                <a:gd name="connsiteY220" fmla="*/ 3488417 h 5181600"/>
                <a:gd name="connsiteX221" fmla="*/ 284923 w 4150659"/>
                <a:gd name="connsiteY221" fmla="*/ 3488417 h 5181600"/>
                <a:gd name="connsiteX222" fmla="*/ 440460 w 4150659"/>
                <a:gd name="connsiteY222" fmla="*/ 3360491 h 5181600"/>
                <a:gd name="connsiteX223" fmla="*/ 440460 w 4150659"/>
                <a:gd name="connsiteY223" fmla="*/ 3360491 h 5181600"/>
                <a:gd name="connsiteX224" fmla="*/ 489139 w 4150659"/>
                <a:gd name="connsiteY224" fmla="*/ 3329832 h 5181600"/>
                <a:gd name="connsiteX225" fmla="*/ 489139 w 4150659"/>
                <a:gd name="connsiteY225" fmla="*/ 3329832 h 5181600"/>
                <a:gd name="connsiteX226" fmla="*/ 784974 w 4150659"/>
                <a:gd name="connsiteY226" fmla="*/ 3125167 h 5181600"/>
                <a:gd name="connsiteX227" fmla="*/ 784974 w 4150659"/>
                <a:gd name="connsiteY227" fmla="*/ 3125167 h 5181600"/>
                <a:gd name="connsiteX228" fmla="*/ 873725 w 4150659"/>
                <a:gd name="connsiteY228" fmla="*/ 3011853 h 5181600"/>
                <a:gd name="connsiteX229" fmla="*/ 873725 w 4150659"/>
                <a:gd name="connsiteY229" fmla="*/ 3011853 h 5181600"/>
                <a:gd name="connsiteX230" fmla="*/ 1438143 w 4150659"/>
                <a:gd name="connsiteY230" fmla="*/ 2513595 h 5181600"/>
                <a:gd name="connsiteX231" fmla="*/ 1438143 w 4150659"/>
                <a:gd name="connsiteY231" fmla="*/ 2513595 h 5181600"/>
                <a:gd name="connsiteX232" fmla="*/ 1503406 w 4150659"/>
                <a:gd name="connsiteY232" fmla="*/ 2304448 h 5181600"/>
                <a:gd name="connsiteX233" fmla="*/ 1503406 w 4150659"/>
                <a:gd name="connsiteY233" fmla="*/ 2304448 h 5181600"/>
                <a:gd name="connsiteX234" fmla="*/ 1538368 w 4150659"/>
                <a:gd name="connsiteY234" fmla="*/ 2195079 h 5181600"/>
                <a:gd name="connsiteX235" fmla="*/ 1538368 w 4150659"/>
                <a:gd name="connsiteY235" fmla="*/ 2195079 h 5181600"/>
                <a:gd name="connsiteX236" fmla="*/ 1560332 w 4150659"/>
                <a:gd name="connsiteY236" fmla="*/ 1965224 h 5181600"/>
                <a:gd name="connsiteX237" fmla="*/ 1560332 w 4150659"/>
                <a:gd name="connsiteY237" fmla="*/ 1965224 h 5181600"/>
                <a:gd name="connsiteX238" fmla="*/ 1961502 w 4150659"/>
                <a:gd name="connsiteY238" fmla="*/ 1180902 h 5181600"/>
                <a:gd name="connsiteX239" fmla="*/ 1975398 w 4150659"/>
                <a:gd name="connsiteY239" fmla="*/ 1067319 h 5181600"/>
                <a:gd name="connsiteX240" fmla="*/ 2063072 w 4150659"/>
                <a:gd name="connsiteY240" fmla="*/ 1081304 h 5181600"/>
                <a:gd name="connsiteX241" fmla="*/ 1961502 w 4150659"/>
                <a:gd name="connsiteY241" fmla="*/ 1180902 h 5181600"/>
                <a:gd name="connsiteX242" fmla="*/ 2272936 w 4150659"/>
                <a:gd name="connsiteY242" fmla="*/ 1096813 h 5181600"/>
                <a:gd name="connsiteX243" fmla="*/ 2272936 w 4150659"/>
                <a:gd name="connsiteY243" fmla="*/ 1096813 h 5181600"/>
                <a:gd name="connsiteX244" fmla="*/ 2209825 w 4150659"/>
                <a:gd name="connsiteY244" fmla="*/ 1026171 h 5181600"/>
                <a:gd name="connsiteX245" fmla="*/ 2209825 w 4150659"/>
                <a:gd name="connsiteY245" fmla="*/ 1026171 h 5181600"/>
                <a:gd name="connsiteX246" fmla="*/ 2249000 w 4150659"/>
                <a:gd name="connsiteY246" fmla="*/ 1013620 h 5181600"/>
                <a:gd name="connsiteX247" fmla="*/ 2249000 w 4150659"/>
                <a:gd name="connsiteY247" fmla="*/ 1013620 h 5181600"/>
                <a:gd name="connsiteX248" fmla="*/ 2552366 w 4150659"/>
                <a:gd name="connsiteY248" fmla="*/ 650102 h 5181600"/>
                <a:gd name="connsiteX249" fmla="*/ 2552366 w 4150659"/>
                <a:gd name="connsiteY249" fmla="*/ 538312 h 5181600"/>
                <a:gd name="connsiteX250" fmla="*/ 2624173 w 4150659"/>
                <a:gd name="connsiteY250" fmla="*/ 600437 h 5181600"/>
                <a:gd name="connsiteX251" fmla="*/ 2552366 w 4150659"/>
                <a:gd name="connsiteY251" fmla="*/ 650102 h 5181600"/>
                <a:gd name="connsiteX252" fmla="*/ 2625428 w 4150659"/>
                <a:gd name="connsiteY252" fmla="*/ 525492 h 5181600"/>
                <a:gd name="connsiteX253" fmla="*/ 2625428 w 4150659"/>
                <a:gd name="connsiteY253" fmla="*/ 525492 h 5181600"/>
                <a:gd name="connsiteX254" fmla="*/ 2602300 w 4150659"/>
                <a:gd name="connsiteY254" fmla="*/ 545035 h 5181600"/>
                <a:gd name="connsiteX255" fmla="*/ 2602300 w 4150659"/>
                <a:gd name="connsiteY255" fmla="*/ 545035 h 5181600"/>
                <a:gd name="connsiteX256" fmla="*/ 3000153 w 4150659"/>
                <a:gd name="connsiteY256" fmla="*/ 436383 h 5181600"/>
                <a:gd name="connsiteX257" fmla="*/ 3000153 w 4150659"/>
                <a:gd name="connsiteY257" fmla="*/ 436383 h 5181600"/>
                <a:gd name="connsiteX258" fmla="*/ 2935607 w 4150659"/>
                <a:gd name="connsiteY258" fmla="*/ 361348 h 5181600"/>
                <a:gd name="connsiteX259" fmla="*/ 3044439 w 4150659"/>
                <a:gd name="connsiteY259" fmla="*/ 262019 h 5181600"/>
                <a:gd name="connsiteX260" fmla="*/ 2935607 w 4150659"/>
                <a:gd name="connsiteY260" fmla="*/ 361348 h 5181600"/>
                <a:gd name="connsiteX261" fmla="*/ 3151478 w 4150659"/>
                <a:gd name="connsiteY261" fmla="*/ 167254 h 5181600"/>
                <a:gd name="connsiteX262" fmla="*/ 3151478 w 4150659"/>
                <a:gd name="connsiteY262" fmla="*/ 167254 h 5181600"/>
                <a:gd name="connsiteX263" fmla="*/ 3233056 w 4150659"/>
                <a:gd name="connsiteY263" fmla="*/ 105917 h 5181600"/>
                <a:gd name="connsiteX264" fmla="*/ 3233056 w 4150659"/>
                <a:gd name="connsiteY264" fmla="*/ 105917 h 518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</a:cxnLst>
              <a:rect l="l" t="t" r="r" b="b"/>
              <a:pathLst>
                <a:path w="4150659" h="5181600">
                  <a:moveTo>
                    <a:pt x="347496" y="5121249"/>
                  </a:moveTo>
                  <a:cubicBezTo>
                    <a:pt x="233555" y="5173872"/>
                    <a:pt x="381114" y="5030167"/>
                    <a:pt x="238665" y="5034381"/>
                  </a:cubicBezTo>
                  <a:cubicBezTo>
                    <a:pt x="78286" y="4974228"/>
                    <a:pt x="77928" y="4683054"/>
                    <a:pt x="217777" y="4772432"/>
                  </a:cubicBezTo>
                  <a:cubicBezTo>
                    <a:pt x="159865" y="4694618"/>
                    <a:pt x="333511" y="4663063"/>
                    <a:pt x="225397" y="4648092"/>
                  </a:cubicBezTo>
                  <a:cubicBezTo>
                    <a:pt x="245209" y="4600041"/>
                    <a:pt x="70308" y="4649616"/>
                    <a:pt x="95588" y="4663780"/>
                  </a:cubicBezTo>
                  <a:cubicBezTo>
                    <a:pt x="22705" y="4685833"/>
                    <a:pt x="129744" y="4396273"/>
                    <a:pt x="230059" y="4478300"/>
                  </a:cubicBezTo>
                  <a:cubicBezTo>
                    <a:pt x="274972" y="4412948"/>
                    <a:pt x="129385" y="4529668"/>
                    <a:pt x="226383" y="4397618"/>
                  </a:cubicBezTo>
                  <a:cubicBezTo>
                    <a:pt x="329298" y="4370007"/>
                    <a:pt x="304197" y="4189637"/>
                    <a:pt x="247719" y="4367766"/>
                  </a:cubicBezTo>
                  <a:cubicBezTo>
                    <a:pt x="192586" y="4337196"/>
                    <a:pt x="130909" y="4555845"/>
                    <a:pt x="140681" y="4370365"/>
                  </a:cubicBezTo>
                  <a:cubicBezTo>
                    <a:pt x="127861" y="4334686"/>
                    <a:pt x="69680" y="4251673"/>
                    <a:pt x="197069" y="4334775"/>
                  </a:cubicBezTo>
                  <a:cubicBezTo>
                    <a:pt x="288240" y="4288338"/>
                    <a:pt x="208723" y="4272112"/>
                    <a:pt x="194379" y="4285021"/>
                  </a:cubicBezTo>
                  <a:cubicBezTo>
                    <a:pt x="100698" y="4329127"/>
                    <a:pt x="61881" y="4163191"/>
                    <a:pt x="134495" y="4193850"/>
                  </a:cubicBezTo>
                  <a:cubicBezTo>
                    <a:pt x="117731" y="4050146"/>
                    <a:pt x="47358" y="4012046"/>
                    <a:pt x="159238" y="3933246"/>
                  </a:cubicBezTo>
                  <a:cubicBezTo>
                    <a:pt x="305811" y="4002274"/>
                    <a:pt x="140591" y="3820380"/>
                    <a:pt x="96574" y="3947141"/>
                  </a:cubicBezTo>
                  <a:cubicBezTo>
                    <a:pt x="39111" y="3935667"/>
                    <a:pt x="209709" y="3838399"/>
                    <a:pt x="147763" y="3809891"/>
                  </a:cubicBezTo>
                  <a:cubicBezTo>
                    <a:pt x="246285" y="3802361"/>
                    <a:pt x="183442" y="3667084"/>
                    <a:pt x="178781" y="3659912"/>
                  </a:cubicBezTo>
                  <a:cubicBezTo>
                    <a:pt x="73445" y="3603165"/>
                    <a:pt x="338711" y="3661705"/>
                    <a:pt x="228983" y="3592139"/>
                  </a:cubicBezTo>
                  <a:cubicBezTo>
                    <a:pt x="279992" y="3566321"/>
                    <a:pt x="180574" y="3401280"/>
                    <a:pt x="289943" y="3519525"/>
                  </a:cubicBezTo>
                  <a:cubicBezTo>
                    <a:pt x="340145" y="3502312"/>
                    <a:pt x="362199" y="3468874"/>
                    <a:pt x="318003" y="3443504"/>
                  </a:cubicBezTo>
                  <a:cubicBezTo>
                    <a:pt x="401016" y="3461523"/>
                    <a:pt x="619217" y="3448435"/>
                    <a:pt x="420021" y="3447538"/>
                  </a:cubicBezTo>
                  <a:cubicBezTo>
                    <a:pt x="372867" y="3302669"/>
                    <a:pt x="529928" y="3491107"/>
                    <a:pt x="471568" y="3375372"/>
                  </a:cubicBezTo>
                  <a:cubicBezTo>
                    <a:pt x="579593" y="3281691"/>
                    <a:pt x="577352" y="3435346"/>
                    <a:pt x="668971" y="3370173"/>
                  </a:cubicBezTo>
                  <a:cubicBezTo>
                    <a:pt x="585330" y="3317550"/>
                    <a:pt x="515585" y="3302489"/>
                    <a:pt x="652834" y="3243412"/>
                  </a:cubicBezTo>
                  <a:cubicBezTo>
                    <a:pt x="766865" y="3158158"/>
                    <a:pt x="791877" y="3256231"/>
                    <a:pt x="673364" y="3269230"/>
                  </a:cubicBezTo>
                  <a:cubicBezTo>
                    <a:pt x="842528" y="3317371"/>
                    <a:pt x="743826" y="3098632"/>
                    <a:pt x="890130" y="3184424"/>
                  </a:cubicBezTo>
                  <a:cubicBezTo>
                    <a:pt x="857499" y="3107059"/>
                    <a:pt x="878924" y="2972409"/>
                    <a:pt x="1015995" y="3066897"/>
                  </a:cubicBezTo>
                  <a:cubicBezTo>
                    <a:pt x="850775" y="3099708"/>
                    <a:pt x="985335" y="3114320"/>
                    <a:pt x="1025408" y="3102307"/>
                  </a:cubicBezTo>
                  <a:cubicBezTo>
                    <a:pt x="998155" y="3016694"/>
                    <a:pt x="1218866" y="3043409"/>
                    <a:pt x="1117565" y="3166047"/>
                  </a:cubicBezTo>
                  <a:cubicBezTo>
                    <a:pt x="1217701" y="3185590"/>
                    <a:pt x="1117027" y="3081240"/>
                    <a:pt x="1276061" y="3126243"/>
                  </a:cubicBezTo>
                  <a:cubicBezTo>
                    <a:pt x="1354054" y="3044395"/>
                    <a:pt x="1198247" y="3097646"/>
                    <a:pt x="1338814" y="3025390"/>
                  </a:cubicBezTo>
                  <a:cubicBezTo>
                    <a:pt x="1503047" y="2943184"/>
                    <a:pt x="1257952" y="2999841"/>
                    <a:pt x="1408111" y="2915842"/>
                  </a:cubicBezTo>
                  <a:cubicBezTo>
                    <a:pt x="1337738" y="2917276"/>
                    <a:pt x="1260283" y="3085005"/>
                    <a:pt x="1205060" y="3097287"/>
                  </a:cubicBezTo>
                  <a:cubicBezTo>
                    <a:pt x="1389195" y="3139869"/>
                    <a:pt x="1070052" y="3107865"/>
                    <a:pt x="1119268" y="3015439"/>
                  </a:cubicBezTo>
                  <a:cubicBezTo>
                    <a:pt x="994659" y="3037134"/>
                    <a:pt x="1221645" y="2921669"/>
                    <a:pt x="1167319" y="2897464"/>
                  </a:cubicBezTo>
                  <a:cubicBezTo>
                    <a:pt x="1208825" y="2886079"/>
                    <a:pt x="1232672" y="2688855"/>
                    <a:pt x="1308961" y="2761648"/>
                  </a:cubicBezTo>
                  <a:cubicBezTo>
                    <a:pt x="1286191" y="2691634"/>
                    <a:pt x="1398429" y="2668774"/>
                    <a:pt x="1392871" y="2773841"/>
                  </a:cubicBezTo>
                  <a:cubicBezTo>
                    <a:pt x="1481801" y="2647528"/>
                    <a:pt x="1459479" y="2734037"/>
                    <a:pt x="1372431" y="2717632"/>
                  </a:cubicBezTo>
                  <a:cubicBezTo>
                    <a:pt x="1307168" y="2645825"/>
                    <a:pt x="1577096" y="2577872"/>
                    <a:pt x="1395650" y="2633901"/>
                  </a:cubicBezTo>
                  <a:cubicBezTo>
                    <a:pt x="1442087" y="2557074"/>
                    <a:pt x="1191613" y="2607187"/>
                    <a:pt x="1379244" y="2534662"/>
                  </a:cubicBezTo>
                  <a:cubicBezTo>
                    <a:pt x="1464051" y="2617227"/>
                    <a:pt x="1543478" y="2375001"/>
                    <a:pt x="1608024" y="2494948"/>
                  </a:cubicBezTo>
                  <a:cubicBezTo>
                    <a:pt x="1555401" y="2440891"/>
                    <a:pt x="1508605" y="2397592"/>
                    <a:pt x="1585254" y="2313055"/>
                  </a:cubicBezTo>
                  <a:cubicBezTo>
                    <a:pt x="1632139" y="2192031"/>
                    <a:pt x="1535679" y="2218208"/>
                    <a:pt x="1603541" y="2102832"/>
                  </a:cubicBezTo>
                  <a:cubicBezTo>
                    <a:pt x="1593501" y="2062670"/>
                    <a:pt x="1741957" y="2074235"/>
                    <a:pt x="1703857" y="2006282"/>
                  </a:cubicBezTo>
                  <a:cubicBezTo>
                    <a:pt x="1625595" y="1997228"/>
                    <a:pt x="1798614" y="1975982"/>
                    <a:pt x="1674094" y="1952494"/>
                  </a:cubicBezTo>
                  <a:cubicBezTo>
                    <a:pt x="1731557" y="1924883"/>
                    <a:pt x="1802379" y="2025377"/>
                    <a:pt x="1727523" y="1912601"/>
                  </a:cubicBezTo>
                  <a:cubicBezTo>
                    <a:pt x="1642628" y="1893327"/>
                    <a:pt x="1862353" y="1881314"/>
                    <a:pt x="1759886" y="1848504"/>
                  </a:cubicBezTo>
                  <a:cubicBezTo>
                    <a:pt x="1835189" y="1821609"/>
                    <a:pt x="1838865" y="1864999"/>
                    <a:pt x="1794042" y="1790323"/>
                  </a:cubicBezTo>
                  <a:cubicBezTo>
                    <a:pt x="1920085" y="1728556"/>
                    <a:pt x="1910224" y="1703634"/>
                    <a:pt x="1984542" y="1571673"/>
                  </a:cubicBezTo>
                  <a:cubicBezTo>
                    <a:pt x="2060293" y="1549889"/>
                    <a:pt x="2130128" y="1438727"/>
                    <a:pt x="2056438" y="1479247"/>
                  </a:cubicBezTo>
                  <a:cubicBezTo>
                    <a:pt x="1917037" y="1616138"/>
                    <a:pt x="2025331" y="1300581"/>
                    <a:pt x="2051329" y="1424742"/>
                  </a:cubicBezTo>
                  <a:cubicBezTo>
                    <a:pt x="2183468" y="1362706"/>
                    <a:pt x="1992431" y="1384401"/>
                    <a:pt x="2112827" y="1309545"/>
                  </a:cubicBezTo>
                  <a:cubicBezTo>
                    <a:pt x="2122060" y="1402599"/>
                    <a:pt x="2186785" y="1177764"/>
                    <a:pt x="2184813" y="1362079"/>
                  </a:cubicBezTo>
                  <a:cubicBezTo>
                    <a:pt x="2227664" y="1344956"/>
                    <a:pt x="2230174" y="1285789"/>
                    <a:pt x="2190102" y="1276824"/>
                  </a:cubicBezTo>
                  <a:cubicBezTo>
                    <a:pt x="2172531" y="1223126"/>
                    <a:pt x="2307002" y="1312414"/>
                    <a:pt x="2199157" y="1242489"/>
                  </a:cubicBezTo>
                  <a:cubicBezTo>
                    <a:pt x="2269530" y="1202776"/>
                    <a:pt x="2423454" y="1241234"/>
                    <a:pt x="2357115" y="1183860"/>
                  </a:cubicBezTo>
                  <a:cubicBezTo>
                    <a:pt x="2314174" y="1174358"/>
                    <a:pt x="2140438" y="1278079"/>
                    <a:pt x="2189564" y="1169965"/>
                  </a:cubicBezTo>
                  <a:cubicBezTo>
                    <a:pt x="2134342" y="1306049"/>
                    <a:pt x="2158098" y="1127741"/>
                    <a:pt x="2102607" y="1263915"/>
                  </a:cubicBezTo>
                  <a:cubicBezTo>
                    <a:pt x="1987231" y="1239262"/>
                    <a:pt x="1927257" y="1302284"/>
                    <a:pt x="1807489" y="1354548"/>
                  </a:cubicBezTo>
                  <a:cubicBezTo>
                    <a:pt x="1766161" y="1348273"/>
                    <a:pt x="1645138" y="1530884"/>
                    <a:pt x="1726717" y="1352755"/>
                  </a:cubicBezTo>
                  <a:cubicBezTo>
                    <a:pt x="1792069" y="1273597"/>
                    <a:pt x="1876248" y="1265798"/>
                    <a:pt x="1925195" y="1247689"/>
                  </a:cubicBezTo>
                  <a:cubicBezTo>
                    <a:pt x="2035013" y="1197038"/>
                    <a:pt x="2059487" y="1219898"/>
                    <a:pt x="2092208" y="1060595"/>
                  </a:cubicBezTo>
                  <a:cubicBezTo>
                    <a:pt x="2013587" y="1009945"/>
                    <a:pt x="2239677" y="752837"/>
                    <a:pt x="2145189" y="980810"/>
                  </a:cubicBezTo>
                  <a:cubicBezTo>
                    <a:pt x="2090863" y="1042576"/>
                    <a:pt x="2234478" y="927828"/>
                    <a:pt x="2149134" y="1038722"/>
                  </a:cubicBezTo>
                  <a:cubicBezTo>
                    <a:pt x="2121612" y="1177854"/>
                    <a:pt x="2162760" y="1149705"/>
                    <a:pt x="2184993" y="1081125"/>
                  </a:cubicBezTo>
                  <a:cubicBezTo>
                    <a:pt x="2194943" y="915726"/>
                    <a:pt x="2249180" y="1229670"/>
                    <a:pt x="2327262" y="1095916"/>
                  </a:cubicBezTo>
                  <a:cubicBezTo>
                    <a:pt x="2295706" y="985023"/>
                    <a:pt x="2343309" y="1052617"/>
                    <a:pt x="2374148" y="1040694"/>
                  </a:cubicBezTo>
                  <a:cubicBezTo>
                    <a:pt x="2303595" y="997753"/>
                    <a:pt x="2452051" y="864986"/>
                    <a:pt x="2320808" y="969873"/>
                  </a:cubicBezTo>
                  <a:cubicBezTo>
                    <a:pt x="2225692" y="998022"/>
                    <a:pt x="2318836" y="889101"/>
                    <a:pt x="2276163" y="872247"/>
                  </a:cubicBezTo>
                  <a:cubicBezTo>
                    <a:pt x="2298127" y="827334"/>
                    <a:pt x="2344743" y="735804"/>
                    <a:pt x="2411710" y="770139"/>
                  </a:cubicBezTo>
                  <a:cubicBezTo>
                    <a:pt x="2455009" y="841588"/>
                    <a:pt x="2454741" y="796585"/>
                    <a:pt x="2527534" y="846339"/>
                  </a:cubicBezTo>
                  <a:cubicBezTo>
                    <a:pt x="2479483" y="774263"/>
                    <a:pt x="2371727" y="751313"/>
                    <a:pt x="2490420" y="707296"/>
                  </a:cubicBezTo>
                  <a:cubicBezTo>
                    <a:pt x="2437977" y="647771"/>
                    <a:pt x="2558552" y="640151"/>
                    <a:pt x="2579619" y="682016"/>
                  </a:cubicBezTo>
                  <a:cubicBezTo>
                    <a:pt x="2641386" y="613436"/>
                    <a:pt x="2674107" y="571571"/>
                    <a:pt x="2632959" y="652970"/>
                  </a:cubicBezTo>
                  <a:cubicBezTo>
                    <a:pt x="2696250" y="810032"/>
                    <a:pt x="2631256" y="633158"/>
                    <a:pt x="2732288" y="590576"/>
                  </a:cubicBezTo>
                  <a:cubicBezTo>
                    <a:pt x="2719289" y="732039"/>
                    <a:pt x="2754879" y="830740"/>
                    <a:pt x="2766981" y="656198"/>
                  </a:cubicBezTo>
                  <a:cubicBezTo>
                    <a:pt x="2752100" y="601244"/>
                    <a:pt x="2821576" y="638447"/>
                    <a:pt x="2783297" y="551311"/>
                  </a:cubicBezTo>
                  <a:cubicBezTo>
                    <a:pt x="2649185" y="591024"/>
                    <a:pt x="2797551" y="378740"/>
                    <a:pt x="2795130" y="560455"/>
                  </a:cubicBezTo>
                  <a:cubicBezTo>
                    <a:pt x="2842464" y="549518"/>
                    <a:pt x="2810639" y="698063"/>
                    <a:pt x="2852684" y="552835"/>
                  </a:cubicBezTo>
                  <a:cubicBezTo>
                    <a:pt x="3008670" y="683092"/>
                    <a:pt x="2903155" y="508907"/>
                    <a:pt x="2815928" y="470449"/>
                  </a:cubicBezTo>
                  <a:cubicBezTo>
                    <a:pt x="2893921" y="370223"/>
                    <a:pt x="2982493" y="464622"/>
                    <a:pt x="3062368" y="472511"/>
                  </a:cubicBezTo>
                  <a:cubicBezTo>
                    <a:pt x="3006966" y="506846"/>
                    <a:pt x="3094462" y="504963"/>
                    <a:pt x="3119473" y="537057"/>
                  </a:cubicBezTo>
                  <a:cubicBezTo>
                    <a:pt x="3103158" y="512135"/>
                    <a:pt x="3092759" y="389587"/>
                    <a:pt x="3163042" y="321724"/>
                  </a:cubicBezTo>
                  <a:cubicBezTo>
                    <a:pt x="3119294" y="318407"/>
                    <a:pt x="3056721" y="507742"/>
                    <a:pt x="3045963" y="353101"/>
                  </a:cubicBezTo>
                  <a:cubicBezTo>
                    <a:pt x="3107102" y="283624"/>
                    <a:pt x="3148160" y="224135"/>
                    <a:pt x="3205355" y="264350"/>
                  </a:cubicBezTo>
                  <a:cubicBezTo>
                    <a:pt x="3305939" y="244897"/>
                    <a:pt x="3142244" y="185954"/>
                    <a:pt x="3238166" y="167576"/>
                  </a:cubicBezTo>
                  <a:cubicBezTo>
                    <a:pt x="3202397" y="59076"/>
                    <a:pt x="3365196" y="217662"/>
                    <a:pt x="3332833" y="120189"/>
                  </a:cubicBezTo>
                  <a:cubicBezTo>
                    <a:pt x="3269812" y="89216"/>
                    <a:pt x="3379898" y="-22296"/>
                    <a:pt x="3405537" y="78100"/>
                  </a:cubicBezTo>
                  <a:cubicBezTo>
                    <a:pt x="3488012" y="53707"/>
                    <a:pt x="3290162" y="149593"/>
                    <a:pt x="3401683" y="143829"/>
                  </a:cubicBezTo>
                  <a:cubicBezTo>
                    <a:pt x="3363493" y="202933"/>
                    <a:pt x="3284245" y="482462"/>
                    <a:pt x="3374250" y="405724"/>
                  </a:cubicBezTo>
                  <a:cubicBezTo>
                    <a:pt x="3351570" y="312939"/>
                    <a:pt x="3539201" y="-53592"/>
                    <a:pt x="3492585" y="197590"/>
                  </a:cubicBezTo>
                  <a:cubicBezTo>
                    <a:pt x="3508811" y="226295"/>
                    <a:pt x="3555606" y="354715"/>
                    <a:pt x="3562958" y="210302"/>
                  </a:cubicBezTo>
                  <a:cubicBezTo>
                    <a:pt x="3572281" y="123156"/>
                    <a:pt x="3596665" y="112264"/>
                    <a:pt x="3558565" y="44043"/>
                  </a:cubicBezTo>
                  <a:cubicBezTo>
                    <a:pt x="3600520" y="-34022"/>
                    <a:pt x="3819886" y="27834"/>
                    <a:pt x="3657356" y="124707"/>
                  </a:cubicBezTo>
                  <a:cubicBezTo>
                    <a:pt x="3737321" y="136263"/>
                    <a:pt x="3612443" y="212418"/>
                    <a:pt x="3719033" y="144447"/>
                  </a:cubicBezTo>
                  <a:cubicBezTo>
                    <a:pt x="3665514" y="294023"/>
                    <a:pt x="3795950" y="216264"/>
                    <a:pt x="3752471" y="90202"/>
                  </a:cubicBezTo>
                  <a:cubicBezTo>
                    <a:pt x="3832257" y="23236"/>
                    <a:pt x="3867578" y="156810"/>
                    <a:pt x="3943509" y="91825"/>
                  </a:cubicBezTo>
                  <a:cubicBezTo>
                    <a:pt x="3975872" y="175394"/>
                    <a:pt x="4009221" y="126984"/>
                    <a:pt x="4103260" y="181301"/>
                  </a:cubicBezTo>
                  <a:cubicBezTo>
                    <a:pt x="4095819" y="331675"/>
                    <a:pt x="3894114" y="361976"/>
                    <a:pt x="3818900" y="358121"/>
                  </a:cubicBezTo>
                  <a:cubicBezTo>
                    <a:pt x="3955522" y="313925"/>
                    <a:pt x="4046065" y="527644"/>
                    <a:pt x="4031901" y="403662"/>
                  </a:cubicBezTo>
                  <a:cubicBezTo>
                    <a:pt x="4155973" y="374168"/>
                    <a:pt x="4207162" y="575515"/>
                    <a:pt x="4057540" y="500391"/>
                  </a:cubicBezTo>
                  <a:cubicBezTo>
                    <a:pt x="4066326" y="593624"/>
                    <a:pt x="3955612" y="694746"/>
                    <a:pt x="3952922" y="765926"/>
                  </a:cubicBezTo>
                  <a:cubicBezTo>
                    <a:pt x="3872330" y="680492"/>
                    <a:pt x="4051982" y="491337"/>
                    <a:pt x="3818721" y="484344"/>
                  </a:cubicBezTo>
                  <a:cubicBezTo>
                    <a:pt x="3715985" y="323248"/>
                    <a:pt x="3660045" y="472331"/>
                    <a:pt x="3542428" y="501646"/>
                  </a:cubicBezTo>
                  <a:cubicBezTo>
                    <a:pt x="3444175" y="684347"/>
                    <a:pt x="3561792" y="894480"/>
                    <a:pt x="3422660" y="1042487"/>
                  </a:cubicBezTo>
                  <a:cubicBezTo>
                    <a:pt x="3321090" y="988430"/>
                    <a:pt x="3245517" y="967542"/>
                    <a:pt x="3162235" y="1057816"/>
                  </a:cubicBezTo>
                  <a:cubicBezTo>
                    <a:pt x="3023193" y="1107929"/>
                    <a:pt x="2934890" y="720564"/>
                    <a:pt x="2858511" y="894121"/>
                  </a:cubicBezTo>
                  <a:cubicBezTo>
                    <a:pt x="2883522" y="966556"/>
                    <a:pt x="2663887" y="899589"/>
                    <a:pt x="2771195" y="1032446"/>
                  </a:cubicBezTo>
                  <a:cubicBezTo>
                    <a:pt x="2746273" y="1142623"/>
                    <a:pt x="2781863" y="1266336"/>
                    <a:pt x="2601762" y="1180185"/>
                  </a:cubicBezTo>
                  <a:cubicBezTo>
                    <a:pt x="2371189" y="1006718"/>
                    <a:pt x="2554607" y="1508652"/>
                    <a:pt x="2374596" y="1343163"/>
                  </a:cubicBezTo>
                  <a:cubicBezTo>
                    <a:pt x="2251690" y="1420977"/>
                    <a:pt x="2166077" y="1607981"/>
                    <a:pt x="2226141" y="1749892"/>
                  </a:cubicBezTo>
                  <a:cubicBezTo>
                    <a:pt x="2091042" y="1869122"/>
                    <a:pt x="2122419" y="2107584"/>
                    <a:pt x="1950296" y="2128292"/>
                  </a:cubicBezTo>
                  <a:cubicBezTo>
                    <a:pt x="1986514" y="2337797"/>
                    <a:pt x="1907445" y="2532511"/>
                    <a:pt x="1801841" y="2709474"/>
                  </a:cubicBezTo>
                  <a:cubicBezTo>
                    <a:pt x="1955675" y="2769717"/>
                    <a:pt x="1861008" y="3019742"/>
                    <a:pt x="1709235" y="2902843"/>
                  </a:cubicBezTo>
                  <a:cubicBezTo>
                    <a:pt x="1570462" y="2961831"/>
                    <a:pt x="1455893" y="3166405"/>
                    <a:pt x="1526266" y="3309123"/>
                  </a:cubicBezTo>
                  <a:cubicBezTo>
                    <a:pt x="1466292" y="3429519"/>
                    <a:pt x="1554415" y="3550901"/>
                    <a:pt x="1525459" y="3670759"/>
                  </a:cubicBezTo>
                  <a:cubicBezTo>
                    <a:pt x="1402553" y="3841447"/>
                    <a:pt x="1760693" y="3949831"/>
                    <a:pt x="1553877" y="4079191"/>
                  </a:cubicBezTo>
                  <a:cubicBezTo>
                    <a:pt x="1454010" y="4157274"/>
                    <a:pt x="1682072" y="4493450"/>
                    <a:pt x="1419048" y="4534329"/>
                  </a:cubicBezTo>
                  <a:cubicBezTo>
                    <a:pt x="1339083" y="4638769"/>
                    <a:pt x="1450783" y="4852128"/>
                    <a:pt x="1302327" y="4906454"/>
                  </a:cubicBezTo>
                  <a:cubicBezTo>
                    <a:pt x="1308154" y="4725099"/>
                    <a:pt x="1151900" y="4931466"/>
                    <a:pt x="1169829" y="4728595"/>
                  </a:cubicBezTo>
                  <a:cubicBezTo>
                    <a:pt x="1134149" y="4623977"/>
                    <a:pt x="1099904" y="4897310"/>
                    <a:pt x="1084395" y="4798072"/>
                  </a:cubicBezTo>
                  <a:cubicBezTo>
                    <a:pt x="978791" y="4890139"/>
                    <a:pt x="923479" y="4847018"/>
                    <a:pt x="820923" y="4973331"/>
                  </a:cubicBezTo>
                  <a:cubicBezTo>
                    <a:pt x="732799" y="5062351"/>
                    <a:pt x="641359" y="5174768"/>
                    <a:pt x="486987" y="5176651"/>
                  </a:cubicBezTo>
                  <a:cubicBezTo>
                    <a:pt x="431585" y="5158273"/>
                    <a:pt x="366502" y="5198166"/>
                    <a:pt x="347496" y="5121249"/>
                  </a:cubicBezTo>
                  <a:close/>
                  <a:moveTo>
                    <a:pt x="379142" y="4230068"/>
                  </a:moveTo>
                  <a:cubicBezTo>
                    <a:pt x="368115" y="4172335"/>
                    <a:pt x="260449" y="4354318"/>
                    <a:pt x="379142" y="4230068"/>
                  </a:cubicBezTo>
                  <a:close/>
                  <a:moveTo>
                    <a:pt x="136109" y="4250955"/>
                  </a:moveTo>
                  <a:cubicBezTo>
                    <a:pt x="117103" y="4209090"/>
                    <a:pt x="129206" y="4293089"/>
                    <a:pt x="136109" y="4250955"/>
                  </a:cubicBezTo>
                  <a:close/>
                  <a:moveTo>
                    <a:pt x="443598" y="4213393"/>
                  </a:moveTo>
                  <a:cubicBezTo>
                    <a:pt x="384610" y="4179596"/>
                    <a:pt x="410339" y="4308419"/>
                    <a:pt x="443598" y="4213393"/>
                  </a:cubicBezTo>
                  <a:close/>
                  <a:moveTo>
                    <a:pt x="133509" y="4052297"/>
                  </a:moveTo>
                  <a:cubicBezTo>
                    <a:pt x="81514" y="3996537"/>
                    <a:pt x="178243" y="4147771"/>
                    <a:pt x="133509" y="4052297"/>
                  </a:cubicBezTo>
                  <a:close/>
                  <a:moveTo>
                    <a:pt x="176450" y="4038761"/>
                  </a:moveTo>
                  <a:cubicBezTo>
                    <a:pt x="65377" y="3996985"/>
                    <a:pt x="272552" y="4158619"/>
                    <a:pt x="176450" y="4038761"/>
                  </a:cubicBezTo>
                  <a:close/>
                  <a:moveTo>
                    <a:pt x="509489" y="3964802"/>
                  </a:moveTo>
                  <a:cubicBezTo>
                    <a:pt x="463141" y="3898821"/>
                    <a:pt x="390527" y="3990172"/>
                    <a:pt x="324816" y="3925985"/>
                  </a:cubicBezTo>
                  <a:cubicBezTo>
                    <a:pt x="380935" y="3989186"/>
                    <a:pt x="485284" y="3931184"/>
                    <a:pt x="509489" y="3964802"/>
                  </a:cubicBezTo>
                  <a:close/>
                  <a:moveTo>
                    <a:pt x="294694" y="3934411"/>
                  </a:moveTo>
                  <a:cubicBezTo>
                    <a:pt x="360047" y="3892546"/>
                    <a:pt x="169457" y="3962202"/>
                    <a:pt x="294694" y="3934411"/>
                  </a:cubicBezTo>
                  <a:close/>
                  <a:moveTo>
                    <a:pt x="383893" y="3674076"/>
                  </a:moveTo>
                  <a:cubicBezTo>
                    <a:pt x="411146" y="3643238"/>
                    <a:pt x="287164" y="3644672"/>
                    <a:pt x="383893" y="3674076"/>
                  </a:cubicBezTo>
                  <a:close/>
                  <a:moveTo>
                    <a:pt x="332794" y="3644134"/>
                  </a:moveTo>
                  <a:cubicBezTo>
                    <a:pt x="300342" y="3588463"/>
                    <a:pt x="321678" y="3691109"/>
                    <a:pt x="332794" y="3644134"/>
                  </a:cubicBezTo>
                  <a:close/>
                  <a:moveTo>
                    <a:pt x="380756" y="3554577"/>
                  </a:moveTo>
                  <a:cubicBezTo>
                    <a:pt x="391872" y="3396350"/>
                    <a:pt x="313789" y="3667891"/>
                    <a:pt x="380756" y="3554577"/>
                  </a:cubicBezTo>
                  <a:close/>
                  <a:moveTo>
                    <a:pt x="594833" y="3517463"/>
                  </a:moveTo>
                  <a:cubicBezTo>
                    <a:pt x="575828" y="3434450"/>
                    <a:pt x="532528" y="3544805"/>
                    <a:pt x="594833" y="3517463"/>
                  </a:cubicBezTo>
                  <a:close/>
                  <a:moveTo>
                    <a:pt x="572331" y="3469322"/>
                  </a:moveTo>
                  <a:cubicBezTo>
                    <a:pt x="542210" y="3411410"/>
                    <a:pt x="559243" y="3508678"/>
                    <a:pt x="572331" y="3469322"/>
                  </a:cubicBezTo>
                  <a:close/>
                  <a:moveTo>
                    <a:pt x="708057" y="3417596"/>
                  </a:moveTo>
                  <a:cubicBezTo>
                    <a:pt x="661351" y="3390612"/>
                    <a:pt x="634726" y="3449779"/>
                    <a:pt x="708057" y="3417596"/>
                  </a:cubicBezTo>
                  <a:close/>
                  <a:moveTo>
                    <a:pt x="843693" y="3356636"/>
                  </a:moveTo>
                  <a:cubicBezTo>
                    <a:pt x="734503" y="3255514"/>
                    <a:pt x="931906" y="3461523"/>
                    <a:pt x="843693" y="3356636"/>
                  </a:cubicBezTo>
                  <a:close/>
                  <a:moveTo>
                    <a:pt x="797435" y="3278912"/>
                  </a:moveTo>
                  <a:cubicBezTo>
                    <a:pt x="754225" y="3232654"/>
                    <a:pt x="827377" y="3378689"/>
                    <a:pt x="797435" y="3278912"/>
                  </a:cubicBezTo>
                  <a:close/>
                  <a:moveTo>
                    <a:pt x="861353" y="3289759"/>
                  </a:moveTo>
                  <a:cubicBezTo>
                    <a:pt x="849072" y="3224138"/>
                    <a:pt x="828901" y="3360312"/>
                    <a:pt x="861353" y="3289759"/>
                  </a:cubicBezTo>
                  <a:close/>
                  <a:moveTo>
                    <a:pt x="826212" y="3249328"/>
                  </a:moveTo>
                  <a:cubicBezTo>
                    <a:pt x="784436" y="3204415"/>
                    <a:pt x="853285" y="3301862"/>
                    <a:pt x="826212" y="3249328"/>
                  </a:cubicBezTo>
                  <a:close/>
                  <a:moveTo>
                    <a:pt x="737461" y="3215532"/>
                  </a:moveTo>
                  <a:cubicBezTo>
                    <a:pt x="723745" y="3201816"/>
                    <a:pt x="744364" y="3260176"/>
                    <a:pt x="737461" y="3215532"/>
                  </a:cubicBezTo>
                  <a:close/>
                  <a:moveTo>
                    <a:pt x="839838" y="3208987"/>
                  </a:moveTo>
                  <a:cubicBezTo>
                    <a:pt x="827646" y="3178597"/>
                    <a:pt x="815454" y="3234268"/>
                    <a:pt x="839838" y="3208987"/>
                  </a:cubicBezTo>
                  <a:close/>
                  <a:moveTo>
                    <a:pt x="909046" y="3103383"/>
                  </a:moveTo>
                  <a:cubicBezTo>
                    <a:pt x="884482" y="3091550"/>
                    <a:pt x="935223" y="3160399"/>
                    <a:pt x="909046" y="3103383"/>
                  </a:cubicBezTo>
                  <a:close/>
                  <a:moveTo>
                    <a:pt x="1637518" y="2477378"/>
                  </a:moveTo>
                  <a:cubicBezTo>
                    <a:pt x="1643524" y="2444208"/>
                    <a:pt x="1599059" y="2521663"/>
                    <a:pt x="1637518" y="2477378"/>
                  </a:cubicBezTo>
                  <a:close/>
                  <a:moveTo>
                    <a:pt x="1634470" y="2238558"/>
                  </a:moveTo>
                  <a:cubicBezTo>
                    <a:pt x="1691037" y="2074952"/>
                    <a:pt x="1571717" y="2329370"/>
                    <a:pt x="1634470" y="2238558"/>
                  </a:cubicBezTo>
                  <a:close/>
                  <a:moveTo>
                    <a:pt x="1642986" y="2150525"/>
                  </a:moveTo>
                  <a:cubicBezTo>
                    <a:pt x="1747784" y="2041783"/>
                    <a:pt x="1530121" y="2184501"/>
                    <a:pt x="1642986" y="2150525"/>
                  </a:cubicBezTo>
                  <a:close/>
                  <a:moveTo>
                    <a:pt x="1701884" y="2117534"/>
                  </a:moveTo>
                  <a:cubicBezTo>
                    <a:pt x="1688527" y="2019909"/>
                    <a:pt x="1647200" y="2106597"/>
                    <a:pt x="1701884" y="2117534"/>
                  </a:cubicBezTo>
                  <a:close/>
                  <a:moveTo>
                    <a:pt x="1825866" y="2060250"/>
                  </a:moveTo>
                  <a:cubicBezTo>
                    <a:pt x="1744467" y="2039183"/>
                    <a:pt x="1775305" y="2105342"/>
                    <a:pt x="1825866" y="2060250"/>
                  </a:cubicBezTo>
                  <a:close/>
                  <a:moveTo>
                    <a:pt x="1863608" y="2051285"/>
                  </a:moveTo>
                  <a:cubicBezTo>
                    <a:pt x="1908700" y="1999290"/>
                    <a:pt x="1784539" y="2105791"/>
                    <a:pt x="1863608" y="2051285"/>
                  </a:cubicBezTo>
                  <a:close/>
                  <a:moveTo>
                    <a:pt x="1773871" y="2035418"/>
                  </a:moveTo>
                  <a:cubicBezTo>
                    <a:pt x="1769568" y="2015426"/>
                    <a:pt x="1739088" y="2065808"/>
                    <a:pt x="1773871" y="2035418"/>
                  </a:cubicBezTo>
                  <a:close/>
                  <a:moveTo>
                    <a:pt x="1797896" y="1947564"/>
                  </a:moveTo>
                  <a:cubicBezTo>
                    <a:pt x="1742763" y="1918339"/>
                    <a:pt x="1806323" y="1974637"/>
                    <a:pt x="1797896" y="1947564"/>
                  </a:cubicBezTo>
                  <a:close/>
                  <a:moveTo>
                    <a:pt x="2082078" y="1696910"/>
                  </a:moveTo>
                  <a:cubicBezTo>
                    <a:pt x="1983466" y="1597761"/>
                    <a:pt x="1964640" y="1723087"/>
                    <a:pt x="2082078" y="1696910"/>
                  </a:cubicBezTo>
                  <a:close/>
                  <a:moveTo>
                    <a:pt x="1972081" y="1672975"/>
                  </a:moveTo>
                  <a:cubicBezTo>
                    <a:pt x="1957737" y="1640612"/>
                    <a:pt x="1938732" y="1707847"/>
                    <a:pt x="1972081" y="1672975"/>
                  </a:cubicBezTo>
                  <a:close/>
                  <a:moveTo>
                    <a:pt x="2099559" y="1577859"/>
                  </a:moveTo>
                  <a:cubicBezTo>
                    <a:pt x="2021028" y="1533484"/>
                    <a:pt x="2047563" y="1592830"/>
                    <a:pt x="2099559" y="1577859"/>
                  </a:cubicBezTo>
                  <a:close/>
                  <a:moveTo>
                    <a:pt x="2153168" y="1372478"/>
                  </a:moveTo>
                  <a:cubicBezTo>
                    <a:pt x="2130397" y="1344239"/>
                    <a:pt x="2117040" y="1437024"/>
                    <a:pt x="2153168" y="1372478"/>
                  </a:cubicBezTo>
                  <a:close/>
                  <a:moveTo>
                    <a:pt x="2372713" y="1101206"/>
                  </a:moveTo>
                  <a:cubicBezTo>
                    <a:pt x="2344116" y="1070815"/>
                    <a:pt x="2362852" y="1132672"/>
                    <a:pt x="2372713" y="1101206"/>
                  </a:cubicBezTo>
                  <a:close/>
                  <a:moveTo>
                    <a:pt x="2442907" y="909630"/>
                  </a:moveTo>
                  <a:cubicBezTo>
                    <a:pt x="2395484" y="659066"/>
                    <a:pt x="2426412" y="1001877"/>
                    <a:pt x="2442907" y="909630"/>
                  </a:cubicBezTo>
                  <a:close/>
                  <a:moveTo>
                    <a:pt x="2626594" y="861669"/>
                  </a:moveTo>
                  <a:cubicBezTo>
                    <a:pt x="2607320" y="807432"/>
                    <a:pt x="2617002" y="913305"/>
                    <a:pt x="2626594" y="861669"/>
                  </a:cubicBezTo>
                  <a:close/>
                  <a:moveTo>
                    <a:pt x="2608306" y="834685"/>
                  </a:moveTo>
                  <a:cubicBezTo>
                    <a:pt x="2555504" y="811197"/>
                    <a:pt x="2555594" y="848222"/>
                    <a:pt x="2608306" y="834685"/>
                  </a:cubicBezTo>
                  <a:close/>
                  <a:moveTo>
                    <a:pt x="2565724" y="807791"/>
                  </a:moveTo>
                  <a:cubicBezTo>
                    <a:pt x="2527803" y="617201"/>
                    <a:pt x="2522424" y="781345"/>
                    <a:pt x="2565724" y="807791"/>
                  </a:cubicBezTo>
                  <a:close/>
                  <a:moveTo>
                    <a:pt x="2906113" y="444093"/>
                  </a:moveTo>
                  <a:cubicBezTo>
                    <a:pt x="2841030" y="434680"/>
                    <a:pt x="2939193" y="520741"/>
                    <a:pt x="2906113" y="444093"/>
                  </a:cubicBezTo>
                  <a:close/>
                  <a:moveTo>
                    <a:pt x="3986988" y="429032"/>
                  </a:moveTo>
                  <a:cubicBezTo>
                    <a:pt x="3973272" y="415316"/>
                    <a:pt x="3993891" y="473676"/>
                    <a:pt x="3986988" y="429032"/>
                  </a:cubicBezTo>
                  <a:close/>
                  <a:moveTo>
                    <a:pt x="158072" y="4718823"/>
                  </a:moveTo>
                  <a:cubicBezTo>
                    <a:pt x="157176" y="4651140"/>
                    <a:pt x="252202" y="4707887"/>
                    <a:pt x="158072" y="4718823"/>
                  </a:cubicBezTo>
                  <a:close/>
                  <a:moveTo>
                    <a:pt x="10782" y="4616895"/>
                  </a:moveTo>
                  <a:cubicBezTo>
                    <a:pt x="-3203" y="4566871"/>
                    <a:pt x="57757" y="4631687"/>
                    <a:pt x="10782" y="4616895"/>
                  </a:cubicBezTo>
                  <a:close/>
                  <a:moveTo>
                    <a:pt x="86175" y="4476418"/>
                  </a:moveTo>
                  <a:cubicBezTo>
                    <a:pt x="125889" y="4287173"/>
                    <a:pt x="135660" y="4595289"/>
                    <a:pt x="86175" y="4476418"/>
                  </a:cubicBezTo>
                  <a:close/>
                  <a:moveTo>
                    <a:pt x="93257" y="4354767"/>
                  </a:moveTo>
                  <a:cubicBezTo>
                    <a:pt x="118448" y="4306537"/>
                    <a:pt x="139067" y="4404879"/>
                    <a:pt x="93257" y="4354767"/>
                  </a:cubicBezTo>
                  <a:close/>
                  <a:moveTo>
                    <a:pt x="270669" y="4335403"/>
                  </a:moveTo>
                  <a:cubicBezTo>
                    <a:pt x="312086" y="4258037"/>
                    <a:pt x="269055" y="4391074"/>
                    <a:pt x="270669" y="4335403"/>
                  </a:cubicBezTo>
                  <a:close/>
                  <a:moveTo>
                    <a:pt x="85010" y="4146516"/>
                  </a:moveTo>
                  <a:cubicBezTo>
                    <a:pt x="45744" y="4012494"/>
                    <a:pt x="41441" y="4131366"/>
                    <a:pt x="85010" y="4146516"/>
                  </a:cubicBezTo>
                  <a:close/>
                  <a:moveTo>
                    <a:pt x="69322" y="4043781"/>
                  </a:moveTo>
                  <a:cubicBezTo>
                    <a:pt x="107959" y="3989096"/>
                    <a:pt x="73983" y="4084032"/>
                    <a:pt x="69322" y="4043781"/>
                  </a:cubicBezTo>
                  <a:close/>
                  <a:moveTo>
                    <a:pt x="149197" y="3696040"/>
                  </a:moveTo>
                  <a:cubicBezTo>
                    <a:pt x="168471" y="3640548"/>
                    <a:pt x="168471" y="3751531"/>
                    <a:pt x="149197" y="3696040"/>
                  </a:cubicBezTo>
                  <a:close/>
                  <a:moveTo>
                    <a:pt x="198234" y="3591691"/>
                  </a:moveTo>
                  <a:cubicBezTo>
                    <a:pt x="196083" y="3475777"/>
                    <a:pt x="258835" y="3670132"/>
                    <a:pt x="198234" y="3591691"/>
                  </a:cubicBezTo>
                  <a:close/>
                  <a:moveTo>
                    <a:pt x="284923" y="3488417"/>
                  </a:moveTo>
                  <a:cubicBezTo>
                    <a:pt x="304197" y="3432926"/>
                    <a:pt x="304197" y="3543999"/>
                    <a:pt x="284923" y="3488417"/>
                  </a:cubicBezTo>
                  <a:close/>
                  <a:moveTo>
                    <a:pt x="440460" y="3360491"/>
                  </a:moveTo>
                  <a:cubicBezTo>
                    <a:pt x="436606" y="3290925"/>
                    <a:pt x="523025" y="3383978"/>
                    <a:pt x="440460" y="3360491"/>
                  </a:cubicBezTo>
                  <a:close/>
                  <a:moveTo>
                    <a:pt x="489139" y="3329832"/>
                  </a:moveTo>
                  <a:cubicBezTo>
                    <a:pt x="510027" y="3264389"/>
                    <a:pt x="519529" y="3350809"/>
                    <a:pt x="489139" y="3329832"/>
                  </a:cubicBezTo>
                  <a:close/>
                  <a:moveTo>
                    <a:pt x="784974" y="3125167"/>
                  </a:moveTo>
                  <a:cubicBezTo>
                    <a:pt x="693175" y="3033727"/>
                    <a:pt x="949118" y="3115844"/>
                    <a:pt x="784974" y="3125167"/>
                  </a:cubicBezTo>
                  <a:close/>
                  <a:moveTo>
                    <a:pt x="873725" y="3011853"/>
                  </a:moveTo>
                  <a:cubicBezTo>
                    <a:pt x="889234" y="2922475"/>
                    <a:pt x="1048357" y="3028169"/>
                    <a:pt x="873725" y="3011853"/>
                  </a:cubicBezTo>
                  <a:close/>
                  <a:moveTo>
                    <a:pt x="1438143" y="2513595"/>
                  </a:moveTo>
                  <a:cubicBezTo>
                    <a:pt x="1448542" y="2444119"/>
                    <a:pt x="1544643" y="2518167"/>
                    <a:pt x="1438143" y="2513595"/>
                  </a:cubicBezTo>
                  <a:close/>
                  <a:moveTo>
                    <a:pt x="1503406" y="2304448"/>
                  </a:moveTo>
                  <a:cubicBezTo>
                    <a:pt x="1507798" y="2207809"/>
                    <a:pt x="1627836" y="2339949"/>
                    <a:pt x="1503406" y="2304448"/>
                  </a:cubicBezTo>
                  <a:close/>
                  <a:moveTo>
                    <a:pt x="1538368" y="2195079"/>
                  </a:moveTo>
                  <a:cubicBezTo>
                    <a:pt x="1558808" y="2166392"/>
                    <a:pt x="1558808" y="2223677"/>
                    <a:pt x="1538368" y="2195079"/>
                  </a:cubicBezTo>
                  <a:close/>
                  <a:moveTo>
                    <a:pt x="1560332" y="1965224"/>
                  </a:moveTo>
                  <a:cubicBezTo>
                    <a:pt x="1471850" y="1918608"/>
                    <a:pt x="1663336" y="1955273"/>
                    <a:pt x="1560332" y="1965224"/>
                  </a:cubicBezTo>
                  <a:close/>
                  <a:moveTo>
                    <a:pt x="1961502" y="1180902"/>
                  </a:moveTo>
                  <a:cubicBezTo>
                    <a:pt x="2045771" y="1136258"/>
                    <a:pt x="1848099" y="1129893"/>
                    <a:pt x="1975398" y="1067319"/>
                  </a:cubicBezTo>
                  <a:cubicBezTo>
                    <a:pt x="2031158" y="1076194"/>
                    <a:pt x="2043798" y="910975"/>
                    <a:pt x="2063072" y="1081304"/>
                  </a:cubicBezTo>
                  <a:cubicBezTo>
                    <a:pt x="2098752" y="1116535"/>
                    <a:pt x="1991444" y="1227608"/>
                    <a:pt x="1961502" y="1180902"/>
                  </a:cubicBezTo>
                  <a:close/>
                  <a:moveTo>
                    <a:pt x="2272936" y="1096813"/>
                  </a:moveTo>
                  <a:cubicBezTo>
                    <a:pt x="2285487" y="973100"/>
                    <a:pt x="2355232" y="1115549"/>
                    <a:pt x="2272936" y="1096813"/>
                  </a:cubicBezTo>
                  <a:close/>
                  <a:moveTo>
                    <a:pt x="2209825" y="1026171"/>
                  </a:moveTo>
                  <a:cubicBezTo>
                    <a:pt x="2187861" y="925408"/>
                    <a:pt x="2306733" y="1070367"/>
                    <a:pt x="2209825" y="1026171"/>
                  </a:cubicBezTo>
                  <a:close/>
                  <a:moveTo>
                    <a:pt x="2249000" y="1013620"/>
                  </a:moveTo>
                  <a:cubicBezTo>
                    <a:pt x="2265675" y="976238"/>
                    <a:pt x="2282708" y="1027874"/>
                    <a:pt x="2249000" y="1013620"/>
                  </a:cubicBezTo>
                  <a:close/>
                  <a:moveTo>
                    <a:pt x="2552366" y="650102"/>
                  </a:moveTo>
                  <a:cubicBezTo>
                    <a:pt x="2470787" y="594969"/>
                    <a:pt x="2528251" y="558482"/>
                    <a:pt x="2552366" y="538312"/>
                  </a:cubicBezTo>
                  <a:cubicBezTo>
                    <a:pt x="2558641" y="395863"/>
                    <a:pt x="2610457" y="625090"/>
                    <a:pt x="2624173" y="600437"/>
                  </a:cubicBezTo>
                  <a:cubicBezTo>
                    <a:pt x="2603106" y="614960"/>
                    <a:pt x="2591632" y="711420"/>
                    <a:pt x="2552366" y="650102"/>
                  </a:cubicBezTo>
                  <a:close/>
                  <a:moveTo>
                    <a:pt x="2625428" y="525492"/>
                  </a:moveTo>
                  <a:cubicBezTo>
                    <a:pt x="2591632" y="374527"/>
                    <a:pt x="2750934" y="657273"/>
                    <a:pt x="2625428" y="525492"/>
                  </a:cubicBezTo>
                  <a:close/>
                  <a:moveTo>
                    <a:pt x="2602300" y="545035"/>
                  </a:moveTo>
                  <a:cubicBezTo>
                    <a:pt x="2559359" y="478427"/>
                    <a:pt x="2677065" y="555883"/>
                    <a:pt x="2602300" y="545035"/>
                  </a:cubicBezTo>
                  <a:close/>
                  <a:moveTo>
                    <a:pt x="3000153" y="436383"/>
                  </a:moveTo>
                  <a:cubicBezTo>
                    <a:pt x="2931484" y="310429"/>
                    <a:pt x="3169496" y="489454"/>
                    <a:pt x="3000153" y="436383"/>
                  </a:cubicBezTo>
                  <a:close/>
                  <a:moveTo>
                    <a:pt x="2935607" y="361348"/>
                  </a:moveTo>
                  <a:cubicBezTo>
                    <a:pt x="2884957" y="283087"/>
                    <a:pt x="3000960" y="265247"/>
                    <a:pt x="3044439" y="262019"/>
                  </a:cubicBezTo>
                  <a:cubicBezTo>
                    <a:pt x="3159725" y="79193"/>
                    <a:pt x="3046142" y="430287"/>
                    <a:pt x="2935607" y="361348"/>
                  </a:cubicBezTo>
                  <a:close/>
                  <a:moveTo>
                    <a:pt x="3151478" y="167254"/>
                  </a:moveTo>
                  <a:cubicBezTo>
                    <a:pt x="3102351" y="83416"/>
                    <a:pt x="3242559" y="153690"/>
                    <a:pt x="3151478" y="167254"/>
                  </a:cubicBezTo>
                  <a:close/>
                  <a:moveTo>
                    <a:pt x="3233056" y="105917"/>
                  </a:moveTo>
                  <a:cubicBezTo>
                    <a:pt x="3211183" y="16279"/>
                    <a:pt x="3297871" y="133295"/>
                    <a:pt x="3233056" y="105917"/>
                  </a:cubicBezTo>
                  <a:close/>
                </a:path>
              </a:pathLst>
            </a:custGeom>
            <a:grpFill/>
            <a:ln w="3175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7F9DF87-D0C1-4385-AD05-7A9F5E106692}"/>
                </a:ext>
              </a:extLst>
            </p:cNvPr>
            <p:cNvSpPr/>
            <p:nvPr/>
          </p:nvSpPr>
          <p:spPr>
            <a:xfrm>
              <a:off x="5090997" y="1149617"/>
              <a:ext cx="2259106" cy="5342965"/>
            </a:xfrm>
            <a:custGeom>
              <a:avLst/>
              <a:gdLst>
                <a:gd name="connsiteX0" fmla="*/ 370481 w 2259106"/>
                <a:gd name="connsiteY0" fmla="*/ 5337692 h 5342964"/>
                <a:gd name="connsiteX1" fmla="*/ 306473 w 2259106"/>
                <a:gd name="connsiteY1" fmla="*/ 5153826 h 5342964"/>
                <a:gd name="connsiteX2" fmla="*/ 301004 w 2259106"/>
                <a:gd name="connsiteY2" fmla="*/ 4974622 h 5342964"/>
                <a:gd name="connsiteX3" fmla="*/ 267028 w 2259106"/>
                <a:gd name="connsiteY3" fmla="*/ 4789859 h 5342964"/>
                <a:gd name="connsiteX4" fmla="*/ 126192 w 2259106"/>
                <a:gd name="connsiteY4" fmla="*/ 4471791 h 5342964"/>
                <a:gd name="connsiteX5" fmla="*/ 102794 w 2259106"/>
                <a:gd name="connsiteY5" fmla="*/ 4160357 h 5342964"/>
                <a:gd name="connsiteX6" fmla="*/ 17540 w 2259106"/>
                <a:gd name="connsiteY6" fmla="*/ 4115982 h 5342964"/>
                <a:gd name="connsiteX7" fmla="*/ 78141 w 2259106"/>
                <a:gd name="connsiteY7" fmla="*/ 3923599 h 5342964"/>
                <a:gd name="connsiteX8" fmla="*/ 169850 w 2259106"/>
                <a:gd name="connsiteY8" fmla="*/ 3584465 h 5342964"/>
                <a:gd name="connsiteX9" fmla="*/ 329064 w 2259106"/>
                <a:gd name="connsiteY9" fmla="*/ 3337128 h 5342964"/>
                <a:gd name="connsiteX10" fmla="*/ 363936 w 2259106"/>
                <a:gd name="connsiteY10" fmla="*/ 3091944 h 5342964"/>
                <a:gd name="connsiteX11" fmla="*/ 269179 w 2259106"/>
                <a:gd name="connsiteY11" fmla="*/ 2823003 h 5342964"/>
                <a:gd name="connsiteX12" fmla="*/ 271510 w 2259106"/>
                <a:gd name="connsiteY12" fmla="*/ 2544200 h 5342964"/>
                <a:gd name="connsiteX13" fmla="*/ 291412 w 2259106"/>
                <a:gd name="connsiteY13" fmla="*/ 2326178 h 5342964"/>
                <a:gd name="connsiteX14" fmla="*/ 488366 w 2259106"/>
                <a:gd name="connsiteY14" fmla="*/ 1950826 h 5342964"/>
                <a:gd name="connsiteX15" fmla="*/ 650000 w 2259106"/>
                <a:gd name="connsiteY15" fmla="*/ 1809542 h 5342964"/>
                <a:gd name="connsiteX16" fmla="*/ 732207 w 2259106"/>
                <a:gd name="connsiteY16" fmla="*/ 1486006 h 5342964"/>
                <a:gd name="connsiteX17" fmla="*/ 738213 w 2259106"/>
                <a:gd name="connsiteY17" fmla="*/ 1172331 h 5342964"/>
                <a:gd name="connsiteX18" fmla="*/ 878331 w 2259106"/>
                <a:gd name="connsiteY18" fmla="*/ 1029434 h 5342964"/>
                <a:gd name="connsiteX19" fmla="*/ 1000968 w 2259106"/>
                <a:gd name="connsiteY19" fmla="*/ 719793 h 5342964"/>
                <a:gd name="connsiteX20" fmla="*/ 1076720 w 2259106"/>
                <a:gd name="connsiteY20" fmla="*/ 474518 h 5342964"/>
                <a:gd name="connsiteX21" fmla="*/ 1248484 w 2259106"/>
                <a:gd name="connsiteY21" fmla="*/ 431667 h 5342964"/>
                <a:gd name="connsiteX22" fmla="*/ 1318588 w 2259106"/>
                <a:gd name="connsiteY22" fmla="*/ 225837 h 5342964"/>
                <a:gd name="connsiteX23" fmla="*/ 1532127 w 2259106"/>
                <a:gd name="connsiteY23" fmla="*/ 204322 h 5342964"/>
                <a:gd name="connsiteX24" fmla="*/ 1646248 w 2259106"/>
                <a:gd name="connsiteY24" fmla="*/ 40358 h 5342964"/>
                <a:gd name="connsiteX25" fmla="*/ 1995961 w 2259106"/>
                <a:gd name="connsiteY25" fmla="*/ 307775 h 5342964"/>
                <a:gd name="connsiteX26" fmla="*/ 2128011 w 2259106"/>
                <a:gd name="connsiteY26" fmla="*/ 636421 h 5342964"/>
                <a:gd name="connsiteX27" fmla="*/ 2171221 w 2259106"/>
                <a:gd name="connsiteY27" fmla="*/ 1016166 h 5342964"/>
                <a:gd name="connsiteX28" fmla="*/ 2139217 w 2259106"/>
                <a:gd name="connsiteY28" fmla="*/ 1229078 h 5342964"/>
                <a:gd name="connsiteX29" fmla="*/ 2010843 w 2259106"/>
                <a:gd name="connsiteY29" fmla="*/ 1248262 h 5342964"/>
                <a:gd name="connsiteX30" fmla="*/ 1986907 w 2259106"/>
                <a:gd name="connsiteY30" fmla="*/ 1368479 h 5342964"/>
                <a:gd name="connsiteX31" fmla="*/ 1874041 w 2259106"/>
                <a:gd name="connsiteY31" fmla="*/ 1439390 h 5342964"/>
                <a:gd name="connsiteX32" fmla="*/ 1875655 w 2259106"/>
                <a:gd name="connsiteY32" fmla="*/ 1570723 h 5342964"/>
                <a:gd name="connsiteX33" fmla="*/ 1883006 w 2259106"/>
                <a:gd name="connsiteY33" fmla="*/ 1734239 h 5342964"/>
                <a:gd name="connsiteX34" fmla="*/ 1795152 w 2259106"/>
                <a:gd name="connsiteY34" fmla="*/ 1995201 h 5342964"/>
                <a:gd name="connsiteX35" fmla="*/ 1628946 w 2259106"/>
                <a:gd name="connsiteY35" fmla="*/ 2164993 h 5342964"/>
                <a:gd name="connsiteX36" fmla="*/ 1573275 w 2259106"/>
                <a:gd name="connsiteY36" fmla="*/ 2204886 h 5342964"/>
                <a:gd name="connsiteX37" fmla="*/ 1469016 w 2259106"/>
                <a:gd name="connsiteY37" fmla="*/ 2279831 h 5342964"/>
                <a:gd name="connsiteX38" fmla="*/ 1421324 w 2259106"/>
                <a:gd name="connsiteY38" fmla="*/ 2400316 h 5342964"/>
                <a:gd name="connsiteX39" fmla="*/ 1323967 w 2259106"/>
                <a:gd name="connsiteY39" fmla="*/ 2542048 h 5342964"/>
                <a:gd name="connsiteX40" fmla="*/ 1241312 w 2259106"/>
                <a:gd name="connsiteY40" fmla="*/ 2651239 h 5342964"/>
                <a:gd name="connsiteX41" fmla="*/ 1245077 w 2259106"/>
                <a:gd name="connsiteY41" fmla="*/ 2865854 h 5342964"/>
                <a:gd name="connsiteX42" fmla="*/ 1195413 w 2259106"/>
                <a:gd name="connsiteY42" fmla="*/ 2951915 h 5342964"/>
                <a:gd name="connsiteX43" fmla="*/ 1208233 w 2259106"/>
                <a:gd name="connsiteY43" fmla="*/ 3148690 h 5342964"/>
                <a:gd name="connsiteX44" fmla="*/ 1314554 w 2259106"/>
                <a:gd name="connsiteY44" fmla="*/ 3315523 h 5342964"/>
                <a:gd name="connsiteX45" fmla="*/ 1466147 w 2259106"/>
                <a:gd name="connsiteY45" fmla="*/ 3441478 h 5342964"/>
                <a:gd name="connsiteX46" fmla="*/ 1544050 w 2259106"/>
                <a:gd name="connsiteY46" fmla="*/ 3537579 h 5342964"/>
                <a:gd name="connsiteX47" fmla="*/ 1577130 w 2259106"/>
                <a:gd name="connsiteY47" fmla="*/ 3634757 h 5342964"/>
                <a:gd name="connsiteX48" fmla="*/ 1390575 w 2259106"/>
                <a:gd name="connsiteY48" fmla="*/ 3754615 h 5342964"/>
                <a:gd name="connsiteX49" fmla="*/ 1478429 w 2259106"/>
                <a:gd name="connsiteY49" fmla="*/ 3829918 h 5342964"/>
                <a:gd name="connsiteX50" fmla="*/ 1376679 w 2259106"/>
                <a:gd name="connsiteY50" fmla="*/ 3920910 h 5342964"/>
                <a:gd name="connsiteX51" fmla="*/ 1276633 w 2259106"/>
                <a:gd name="connsiteY51" fmla="*/ 3975864 h 5342964"/>
                <a:gd name="connsiteX52" fmla="*/ 1024277 w 2259106"/>
                <a:gd name="connsiteY52" fmla="*/ 4075820 h 5342964"/>
                <a:gd name="connsiteX53" fmla="*/ 1127102 w 2259106"/>
                <a:gd name="connsiteY53" fmla="*/ 4164392 h 5342964"/>
                <a:gd name="connsiteX54" fmla="*/ 1129433 w 2259106"/>
                <a:gd name="connsiteY54" fmla="*/ 4315716 h 5342964"/>
                <a:gd name="connsiteX55" fmla="*/ 1141266 w 2259106"/>
                <a:gd name="connsiteY55" fmla="*/ 4429299 h 5342964"/>
                <a:gd name="connsiteX56" fmla="*/ 1092140 w 2259106"/>
                <a:gd name="connsiteY56" fmla="*/ 4693399 h 5342964"/>
                <a:gd name="connsiteX57" fmla="*/ 960000 w 2259106"/>
                <a:gd name="connsiteY57" fmla="*/ 5049387 h 5342964"/>
                <a:gd name="connsiteX58" fmla="*/ 712394 w 2259106"/>
                <a:gd name="connsiteY58" fmla="*/ 5069558 h 5342964"/>
                <a:gd name="connsiteX59" fmla="*/ 620417 w 2259106"/>
                <a:gd name="connsiteY59" fmla="*/ 5273774 h 5342964"/>
                <a:gd name="connsiteX60" fmla="*/ 370481 w 2259106"/>
                <a:gd name="connsiteY60" fmla="*/ 5337692 h 5342964"/>
                <a:gd name="connsiteX61" fmla="*/ 1067845 w 2259106"/>
                <a:gd name="connsiteY61" fmla="*/ 5005909 h 5342964"/>
                <a:gd name="connsiteX62" fmla="*/ 1218273 w 2259106"/>
                <a:gd name="connsiteY62" fmla="*/ 4562962 h 5342964"/>
                <a:gd name="connsiteX63" fmla="*/ 1067845 w 2259106"/>
                <a:gd name="connsiteY63" fmla="*/ 5005909 h 5342964"/>
                <a:gd name="connsiteX64" fmla="*/ 1428495 w 2259106"/>
                <a:gd name="connsiteY64" fmla="*/ 4723610 h 5342964"/>
                <a:gd name="connsiteX65" fmla="*/ 1474394 w 2259106"/>
                <a:gd name="connsiteY65" fmla="*/ 4392543 h 5342964"/>
                <a:gd name="connsiteX66" fmla="*/ 1634325 w 2259106"/>
                <a:gd name="connsiteY66" fmla="*/ 4298683 h 5342964"/>
                <a:gd name="connsiteX67" fmla="*/ 1584392 w 2259106"/>
                <a:gd name="connsiteY67" fmla="*/ 4536247 h 5342964"/>
                <a:gd name="connsiteX68" fmla="*/ 1428495 w 2259106"/>
                <a:gd name="connsiteY68" fmla="*/ 4723610 h 5342964"/>
                <a:gd name="connsiteX69" fmla="*/ 63888 w 2259106"/>
                <a:gd name="connsiteY69" fmla="*/ 4316254 h 5342964"/>
                <a:gd name="connsiteX70" fmla="*/ 63888 w 2259106"/>
                <a:gd name="connsiteY70" fmla="*/ 4316254 h 5342964"/>
                <a:gd name="connsiteX71" fmla="*/ 50172 w 2259106"/>
                <a:gd name="connsiteY71" fmla="*/ 4255114 h 5342964"/>
                <a:gd name="connsiteX72" fmla="*/ 79038 w 2259106"/>
                <a:gd name="connsiteY72" fmla="*/ 4243012 h 5342964"/>
                <a:gd name="connsiteX73" fmla="*/ 50172 w 2259106"/>
                <a:gd name="connsiteY73" fmla="*/ 4255114 h 5342964"/>
                <a:gd name="connsiteX74" fmla="*/ 1165023 w 2259106"/>
                <a:gd name="connsiteY74" fmla="*/ 4216387 h 5342964"/>
                <a:gd name="connsiteX75" fmla="*/ 1165023 w 2259106"/>
                <a:gd name="connsiteY75" fmla="*/ 4216387 h 5342964"/>
                <a:gd name="connsiteX76" fmla="*/ 1412269 w 2259106"/>
                <a:gd name="connsiteY76" fmla="*/ 3957038 h 5342964"/>
                <a:gd name="connsiteX77" fmla="*/ 1412269 w 2259106"/>
                <a:gd name="connsiteY77" fmla="*/ 3957038 h 5342964"/>
                <a:gd name="connsiteX78" fmla="*/ 1437729 w 2259106"/>
                <a:gd name="connsiteY78" fmla="*/ 3909256 h 5342964"/>
                <a:gd name="connsiteX79" fmla="*/ 1437729 w 2259106"/>
                <a:gd name="connsiteY79" fmla="*/ 3909256 h 5342964"/>
                <a:gd name="connsiteX80" fmla="*/ 1472871 w 2259106"/>
                <a:gd name="connsiteY80" fmla="*/ 3741437 h 5342964"/>
                <a:gd name="connsiteX81" fmla="*/ 1472871 w 2259106"/>
                <a:gd name="connsiteY81" fmla="*/ 3741437 h 5342964"/>
                <a:gd name="connsiteX82" fmla="*/ 1523790 w 2259106"/>
                <a:gd name="connsiteY82" fmla="*/ 3682180 h 5342964"/>
                <a:gd name="connsiteX83" fmla="*/ 1523790 w 2259106"/>
                <a:gd name="connsiteY83" fmla="*/ 3682180 h 534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2259106" h="5342964">
                  <a:moveTo>
                    <a:pt x="370481" y="5337692"/>
                  </a:moveTo>
                  <a:cubicBezTo>
                    <a:pt x="201944" y="5315908"/>
                    <a:pt x="376039" y="5236570"/>
                    <a:pt x="306473" y="5153826"/>
                  </a:cubicBezTo>
                  <a:cubicBezTo>
                    <a:pt x="279758" y="5064986"/>
                    <a:pt x="167968" y="4928543"/>
                    <a:pt x="301004" y="4974622"/>
                  </a:cubicBezTo>
                  <a:cubicBezTo>
                    <a:pt x="200599" y="4888919"/>
                    <a:pt x="391548" y="4874307"/>
                    <a:pt x="267028" y="4789859"/>
                  </a:cubicBezTo>
                  <a:cubicBezTo>
                    <a:pt x="187421" y="4671525"/>
                    <a:pt x="144391" y="4550053"/>
                    <a:pt x="126192" y="4471791"/>
                  </a:cubicBezTo>
                  <a:cubicBezTo>
                    <a:pt x="47213" y="4376496"/>
                    <a:pt x="172719" y="4250094"/>
                    <a:pt x="102794" y="4160357"/>
                  </a:cubicBezTo>
                  <a:cubicBezTo>
                    <a:pt x="12161" y="4241398"/>
                    <a:pt x="70970" y="4125484"/>
                    <a:pt x="17540" y="4115982"/>
                  </a:cubicBezTo>
                  <a:cubicBezTo>
                    <a:pt x="4810" y="4045609"/>
                    <a:pt x="-6934" y="3720639"/>
                    <a:pt x="78141" y="3923599"/>
                  </a:cubicBezTo>
                  <a:cubicBezTo>
                    <a:pt x="180608" y="3855019"/>
                    <a:pt x="119469" y="3674112"/>
                    <a:pt x="169850" y="3584465"/>
                  </a:cubicBezTo>
                  <a:cubicBezTo>
                    <a:pt x="256270" y="3552640"/>
                    <a:pt x="310238" y="3443001"/>
                    <a:pt x="329064" y="3337128"/>
                  </a:cubicBezTo>
                  <a:cubicBezTo>
                    <a:pt x="307997" y="3240489"/>
                    <a:pt x="218977" y="3109783"/>
                    <a:pt x="363936" y="3091944"/>
                  </a:cubicBezTo>
                  <a:cubicBezTo>
                    <a:pt x="471334" y="2955501"/>
                    <a:pt x="261739" y="2925379"/>
                    <a:pt x="269179" y="2823003"/>
                  </a:cubicBezTo>
                  <a:cubicBezTo>
                    <a:pt x="287288" y="2729500"/>
                    <a:pt x="308803" y="2635640"/>
                    <a:pt x="271510" y="2544200"/>
                  </a:cubicBezTo>
                  <a:cubicBezTo>
                    <a:pt x="259856" y="2472482"/>
                    <a:pt x="302170" y="2396820"/>
                    <a:pt x="291412" y="2326178"/>
                  </a:cubicBezTo>
                  <a:cubicBezTo>
                    <a:pt x="282716" y="2193232"/>
                    <a:pt x="348427" y="2005063"/>
                    <a:pt x="488366" y="1950826"/>
                  </a:cubicBezTo>
                  <a:cubicBezTo>
                    <a:pt x="617458" y="2012414"/>
                    <a:pt x="675908" y="1928414"/>
                    <a:pt x="650000" y="1809542"/>
                  </a:cubicBezTo>
                  <a:cubicBezTo>
                    <a:pt x="512750" y="1741411"/>
                    <a:pt x="719118" y="1589100"/>
                    <a:pt x="732207" y="1486006"/>
                  </a:cubicBezTo>
                  <a:cubicBezTo>
                    <a:pt x="735075" y="1380492"/>
                    <a:pt x="759639" y="1277308"/>
                    <a:pt x="738213" y="1172331"/>
                  </a:cubicBezTo>
                  <a:cubicBezTo>
                    <a:pt x="829384" y="1185420"/>
                    <a:pt x="895364" y="1111640"/>
                    <a:pt x="878331" y="1029434"/>
                  </a:cubicBezTo>
                  <a:cubicBezTo>
                    <a:pt x="919121" y="924457"/>
                    <a:pt x="1074748" y="841533"/>
                    <a:pt x="1000968" y="719793"/>
                  </a:cubicBezTo>
                  <a:cubicBezTo>
                    <a:pt x="943056" y="618940"/>
                    <a:pt x="1096084" y="597066"/>
                    <a:pt x="1076720" y="474518"/>
                  </a:cubicBezTo>
                  <a:cubicBezTo>
                    <a:pt x="1118317" y="374562"/>
                    <a:pt x="1215583" y="457754"/>
                    <a:pt x="1248484" y="431667"/>
                  </a:cubicBezTo>
                  <a:cubicBezTo>
                    <a:pt x="1313209" y="374472"/>
                    <a:pt x="1210294" y="212211"/>
                    <a:pt x="1318588" y="225837"/>
                  </a:cubicBezTo>
                  <a:cubicBezTo>
                    <a:pt x="1385913" y="244484"/>
                    <a:pt x="1605907" y="327139"/>
                    <a:pt x="1532127" y="204322"/>
                  </a:cubicBezTo>
                  <a:cubicBezTo>
                    <a:pt x="1619981" y="126419"/>
                    <a:pt x="1461396" y="-67040"/>
                    <a:pt x="1646248" y="40358"/>
                  </a:cubicBezTo>
                  <a:cubicBezTo>
                    <a:pt x="1709718" y="192578"/>
                    <a:pt x="1908645" y="193206"/>
                    <a:pt x="1995961" y="307775"/>
                  </a:cubicBezTo>
                  <a:cubicBezTo>
                    <a:pt x="2149168" y="374831"/>
                    <a:pt x="2018731" y="561207"/>
                    <a:pt x="2128011" y="636421"/>
                  </a:cubicBezTo>
                  <a:cubicBezTo>
                    <a:pt x="2094035" y="756996"/>
                    <a:pt x="2243746" y="878827"/>
                    <a:pt x="2171221" y="1016166"/>
                  </a:cubicBezTo>
                  <a:cubicBezTo>
                    <a:pt x="2231285" y="1114867"/>
                    <a:pt x="2345137" y="1269419"/>
                    <a:pt x="2139217" y="1229078"/>
                  </a:cubicBezTo>
                  <a:cubicBezTo>
                    <a:pt x="2105241" y="1307429"/>
                    <a:pt x="2048674" y="1183806"/>
                    <a:pt x="2010843" y="1248262"/>
                  </a:cubicBezTo>
                  <a:cubicBezTo>
                    <a:pt x="1964495" y="1224506"/>
                    <a:pt x="1978659" y="1365879"/>
                    <a:pt x="1986907" y="1368479"/>
                  </a:cubicBezTo>
                  <a:cubicBezTo>
                    <a:pt x="1918506" y="1338537"/>
                    <a:pt x="1914920" y="1415813"/>
                    <a:pt x="1874041" y="1439390"/>
                  </a:cubicBezTo>
                  <a:cubicBezTo>
                    <a:pt x="1935450" y="1439210"/>
                    <a:pt x="1889640" y="1585604"/>
                    <a:pt x="1875655" y="1570723"/>
                  </a:cubicBezTo>
                  <a:cubicBezTo>
                    <a:pt x="1805282" y="1616442"/>
                    <a:pt x="1832355" y="1695780"/>
                    <a:pt x="1883006" y="1734239"/>
                  </a:cubicBezTo>
                  <a:cubicBezTo>
                    <a:pt x="1954993" y="1819314"/>
                    <a:pt x="1793359" y="1874178"/>
                    <a:pt x="1795152" y="1995201"/>
                  </a:cubicBezTo>
                  <a:cubicBezTo>
                    <a:pt x="1732847" y="2123666"/>
                    <a:pt x="1713304" y="2058492"/>
                    <a:pt x="1628946" y="2164993"/>
                  </a:cubicBezTo>
                  <a:cubicBezTo>
                    <a:pt x="1605907" y="2217705"/>
                    <a:pt x="1576861" y="2136216"/>
                    <a:pt x="1573275" y="2204886"/>
                  </a:cubicBezTo>
                  <a:cubicBezTo>
                    <a:pt x="1541361" y="2200404"/>
                    <a:pt x="1494834" y="2321696"/>
                    <a:pt x="1469016" y="2279831"/>
                  </a:cubicBezTo>
                  <a:cubicBezTo>
                    <a:pt x="1443377" y="2315600"/>
                    <a:pt x="1377845" y="2369388"/>
                    <a:pt x="1421324" y="2400316"/>
                  </a:cubicBezTo>
                  <a:cubicBezTo>
                    <a:pt x="1354536" y="2451774"/>
                    <a:pt x="1311147" y="2440389"/>
                    <a:pt x="1323967" y="2542048"/>
                  </a:cubicBezTo>
                  <a:cubicBezTo>
                    <a:pt x="1306755" y="2659486"/>
                    <a:pt x="1164754" y="2516230"/>
                    <a:pt x="1241312" y="2651239"/>
                  </a:cubicBezTo>
                  <a:cubicBezTo>
                    <a:pt x="1326925" y="2681091"/>
                    <a:pt x="1170760" y="2788847"/>
                    <a:pt x="1245077" y="2865854"/>
                  </a:cubicBezTo>
                  <a:cubicBezTo>
                    <a:pt x="1269999" y="2957114"/>
                    <a:pt x="1152113" y="2832953"/>
                    <a:pt x="1195413" y="2951915"/>
                  </a:cubicBezTo>
                  <a:cubicBezTo>
                    <a:pt x="1207246" y="3018702"/>
                    <a:pt x="1185193" y="3076255"/>
                    <a:pt x="1208233" y="3148690"/>
                  </a:cubicBezTo>
                  <a:cubicBezTo>
                    <a:pt x="1192365" y="3238337"/>
                    <a:pt x="1269910" y="3322426"/>
                    <a:pt x="1314554" y="3315523"/>
                  </a:cubicBezTo>
                  <a:cubicBezTo>
                    <a:pt x="1360184" y="3291588"/>
                    <a:pt x="1473588" y="3461021"/>
                    <a:pt x="1466147" y="3441478"/>
                  </a:cubicBezTo>
                  <a:cubicBezTo>
                    <a:pt x="1384837" y="3451876"/>
                    <a:pt x="1555256" y="3469537"/>
                    <a:pt x="1544050" y="3537579"/>
                  </a:cubicBezTo>
                  <a:cubicBezTo>
                    <a:pt x="1610120" y="3603649"/>
                    <a:pt x="1490441" y="3594595"/>
                    <a:pt x="1577130" y="3634757"/>
                  </a:cubicBezTo>
                  <a:cubicBezTo>
                    <a:pt x="1498599" y="3640315"/>
                    <a:pt x="1440329" y="3791191"/>
                    <a:pt x="1390575" y="3754615"/>
                  </a:cubicBezTo>
                  <a:cubicBezTo>
                    <a:pt x="1386003" y="3809748"/>
                    <a:pt x="1574710" y="3706295"/>
                    <a:pt x="1478429" y="3829918"/>
                  </a:cubicBezTo>
                  <a:cubicBezTo>
                    <a:pt x="1397298" y="3747712"/>
                    <a:pt x="1490352" y="3911855"/>
                    <a:pt x="1376679" y="3920910"/>
                  </a:cubicBezTo>
                  <a:cubicBezTo>
                    <a:pt x="1339655" y="4050719"/>
                    <a:pt x="1329256" y="3879762"/>
                    <a:pt x="1276633" y="3975864"/>
                  </a:cubicBezTo>
                  <a:cubicBezTo>
                    <a:pt x="1277440" y="4051526"/>
                    <a:pt x="1116344" y="4084068"/>
                    <a:pt x="1024277" y="4075820"/>
                  </a:cubicBezTo>
                  <a:cubicBezTo>
                    <a:pt x="1082816" y="4059684"/>
                    <a:pt x="1222935" y="4112307"/>
                    <a:pt x="1127102" y="4164392"/>
                  </a:cubicBezTo>
                  <a:cubicBezTo>
                    <a:pt x="1166457" y="4204553"/>
                    <a:pt x="1139114" y="4264617"/>
                    <a:pt x="1129433" y="4315716"/>
                  </a:cubicBezTo>
                  <a:cubicBezTo>
                    <a:pt x="1181966" y="4393530"/>
                    <a:pt x="1046688" y="4346733"/>
                    <a:pt x="1141266" y="4429299"/>
                  </a:cubicBezTo>
                  <a:cubicBezTo>
                    <a:pt x="1091243" y="4498775"/>
                    <a:pt x="1112758" y="4620605"/>
                    <a:pt x="1092140" y="4693399"/>
                  </a:cubicBezTo>
                  <a:cubicBezTo>
                    <a:pt x="1076989" y="4797300"/>
                    <a:pt x="1017643" y="4942349"/>
                    <a:pt x="960000" y="5049387"/>
                  </a:cubicBezTo>
                  <a:cubicBezTo>
                    <a:pt x="903253" y="5033699"/>
                    <a:pt x="707374" y="4990848"/>
                    <a:pt x="712394" y="5069558"/>
                  </a:cubicBezTo>
                  <a:cubicBezTo>
                    <a:pt x="651883" y="5051898"/>
                    <a:pt x="539196" y="5171935"/>
                    <a:pt x="620417" y="5273774"/>
                  </a:cubicBezTo>
                  <a:cubicBezTo>
                    <a:pt x="584199" y="5354277"/>
                    <a:pt x="453404" y="5280049"/>
                    <a:pt x="370481" y="5337692"/>
                  </a:cubicBezTo>
                  <a:close/>
                  <a:moveTo>
                    <a:pt x="1067845" y="5005909"/>
                  </a:moveTo>
                  <a:cubicBezTo>
                    <a:pt x="1042117" y="4845620"/>
                    <a:pt x="1145300" y="4669194"/>
                    <a:pt x="1218273" y="4562962"/>
                  </a:cubicBezTo>
                  <a:cubicBezTo>
                    <a:pt x="1166726" y="4705232"/>
                    <a:pt x="1143238" y="4887395"/>
                    <a:pt x="1067845" y="5005909"/>
                  </a:cubicBezTo>
                  <a:close/>
                  <a:moveTo>
                    <a:pt x="1428495" y="4723610"/>
                  </a:moveTo>
                  <a:cubicBezTo>
                    <a:pt x="1463906" y="4623116"/>
                    <a:pt x="1356509" y="4490348"/>
                    <a:pt x="1474394" y="4392543"/>
                  </a:cubicBezTo>
                  <a:cubicBezTo>
                    <a:pt x="1546561" y="4302448"/>
                    <a:pt x="1559201" y="4381786"/>
                    <a:pt x="1634325" y="4298683"/>
                  </a:cubicBezTo>
                  <a:cubicBezTo>
                    <a:pt x="1697347" y="4323336"/>
                    <a:pt x="1474574" y="4457896"/>
                    <a:pt x="1584392" y="4536247"/>
                  </a:cubicBezTo>
                  <a:cubicBezTo>
                    <a:pt x="1523342" y="4569327"/>
                    <a:pt x="1494655" y="4706935"/>
                    <a:pt x="1428495" y="4723610"/>
                  </a:cubicBezTo>
                  <a:close/>
                  <a:moveTo>
                    <a:pt x="63888" y="4316254"/>
                  </a:moveTo>
                  <a:cubicBezTo>
                    <a:pt x="67742" y="4195768"/>
                    <a:pt x="147439" y="4293752"/>
                    <a:pt x="63888" y="4316254"/>
                  </a:cubicBezTo>
                  <a:close/>
                  <a:moveTo>
                    <a:pt x="50172" y="4255114"/>
                  </a:moveTo>
                  <a:cubicBezTo>
                    <a:pt x="-2899" y="4140276"/>
                    <a:pt x="208040" y="4203926"/>
                    <a:pt x="79038" y="4243012"/>
                  </a:cubicBezTo>
                  <a:cubicBezTo>
                    <a:pt x="66308" y="4241398"/>
                    <a:pt x="63529" y="4266051"/>
                    <a:pt x="50172" y="4255114"/>
                  </a:cubicBezTo>
                  <a:close/>
                  <a:moveTo>
                    <a:pt x="1165023" y="4216387"/>
                  </a:moveTo>
                  <a:cubicBezTo>
                    <a:pt x="1102718" y="4139380"/>
                    <a:pt x="1219349" y="4196934"/>
                    <a:pt x="1165023" y="4216387"/>
                  </a:cubicBezTo>
                  <a:close/>
                  <a:moveTo>
                    <a:pt x="1412269" y="3957038"/>
                  </a:moveTo>
                  <a:cubicBezTo>
                    <a:pt x="1414510" y="3905491"/>
                    <a:pt x="1471526" y="3946280"/>
                    <a:pt x="1412269" y="3957038"/>
                  </a:cubicBezTo>
                  <a:close/>
                  <a:moveTo>
                    <a:pt x="1437729" y="3909256"/>
                  </a:moveTo>
                  <a:cubicBezTo>
                    <a:pt x="1487483" y="3797018"/>
                    <a:pt x="1477263" y="3937315"/>
                    <a:pt x="1437729" y="3909256"/>
                  </a:cubicBezTo>
                  <a:close/>
                  <a:moveTo>
                    <a:pt x="1472871" y="3741437"/>
                  </a:moveTo>
                  <a:cubicBezTo>
                    <a:pt x="1499227" y="3643990"/>
                    <a:pt x="1532934" y="3750939"/>
                    <a:pt x="1472871" y="3741437"/>
                  </a:cubicBezTo>
                  <a:close/>
                  <a:moveTo>
                    <a:pt x="1523790" y="3682180"/>
                  </a:moveTo>
                  <a:cubicBezTo>
                    <a:pt x="1587977" y="3593340"/>
                    <a:pt x="1544678" y="3735072"/>
                    <a:pt x="1523790" y="3682180"/>
                  </a:cubicBezTo>
                  <a:close/>
                </a:path>
              </a:pathLst>
            </a:custGeom>
            <a:grpFill/>
            <a:ln w="3175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19306A7-EAB8-4FE3-B53F-172176051388}"/>
                </a:ext>
              </a:extLst>
            </p:cNvPr>
            <p:cNvSpPr/>
            <p:nvPr/>
          </p:nvSpPr>
          <p:spPr>
            <a:xfrm>
              <a:off x="6649354" y="597498"/>
              <a:ext cx="2178424" cy="4159624"/>
            </a:xfrm>
            <a:custGeom>
              <a:avLst/>
              <a:gdLst>
                <a:gd name="connsiteX0" fmla="*/ 800944 w 2178423"/>
                <a:gd name="connsiteY0" fmla="*/ 4116683 h 4159623"/>
                <a:gd name="connsiteX1" fmla="*/ 789648 w 2178423"/>
                <a:gd name="connsiteY1" fmla="*/ 4045772 h 4159623"/>
                <a:gd name="connsiteX2" fmla="*/ 657060 w 2178423"/>
                <a:gd name="connsiteY2" fmla="*/ 4042186 h 4159623"/>
                <a:gd name="connsiteX3" fmla="*/ 603003 w 2178423"/>
                <a:gd name="connsiteY3" fmla="*/ 3938016 h 4159623"/>
                <a:gd name="connsiteX4" fmla="*/ 520259 w 2178423"/>
                <a:gd name="connsiteY4" fmla="*/ 3870153 h 4159623"/>
                <a:gd name="connsiteX5" fmla="*/ 433839 w 2178423"/>
                <a:gd name="connsiteY5" fmla="*/ 3828288 h 4159623"/>
                <a:gd name="connsiteX6" fmla="*/ 390450 w 2178423"/>
                <a:gd name="connsiteY6" fmla="*/ 3370012 h 4159623"/>
                <a:gd name="connsiteX7" fmla="*/ 315953 w 2178423"/>
                <a:gd name="connsiteY7" fmla="*/ 3012500 h 4159623"/>
                <a:gd name="connsiteX8" fmla="*/ 411427 w 2178423"/>
                <a:gd name="connsiteY8" fmla="*/ 2810704 h 4159623"/>
                <a:gd name="connsiteX9" fmla="*/ 489958 w 2178423"/>
                <a:gd name="connsiteY9" fmla="*/ 2778969 h 4159623"/>
                <a:gd name="connsiteX10" fmla="*/ 575750 w 2178423"/>
                <a:gd name="connsiteY10" fmla="*/ 2613033 h 4159623"/>
                <a:gd name="connsiteX11" fmla="*/ 616719 w 2178423"/>
                <a:gd name="connsiteY11" fmla="*/ 2537729 h 4159623"/>
                <a:gd name="connsiteX12" fmla="*/ 794310 w 2178423"/>
                <a:gd name="connsiteY12" fmla="*/ 2212848 h 4159623"/>
                <a:gd name="connsiteX13" fmla="*/ 932994 w 2178423"/>
                <a:gd name="connsiteY13" fmla="*/ 2094424 h 4159623"/>
                <a:gd name="connsiteX14" fmla="*/ 901438 w 2178423"/>
                <a:gd name="connsiteY14" fmla="*/ 1999129 h 4159623"/>
                <a:gd name="connsiteX15" fmla="*/ 683058 w 2178423"/>
                <a:gd name="connsiteY15" fmla="*/ 1741305 h 4159623"/>
                <a:gd name="connsiteX16" fmla="*/ 591887 w 2178423"/>
                <a:gd name="connsiteY16" fmla="*/ 1363532 h 4159623"/>
                <a:gd name="connsiteX17" fmla="*/ 527879 w 2178423"/>
                <a:gd name="connsiteY17" fmla="*/ 1140221 h 4159623"/>
                <a:gd name="connsiteX18" fmla="*/ 440025 w 2178423"/>
                <a:gd name="connsiteY18" fmla="*/ 884099 h 4159623"/>
                <a:gd name="connsiteX19" fmla="*/ 217072 w 2178423"/>
                <a:gd name="connsiteY19" fmla="*/ 733403 h 4159623"/>
                <a:gd name="connsiteX20" fmla="*/ 8643 w 2178423"/>
                <a:gd name="connsiteY20" fmla="*/ 560742 h 4159623"/>
                <a:gd name="connsiteX21" fmla="*/ 83319 w 2178423"/>
                <a:gd name="connsiteY21" fmla="*/ 472709 h 4159623"/>
                <a:gd name="connsiteX22" fmla="*/ 361404 w 2178423"/>
                <a:gd name="connsiteY22" fmla="*/ 668050 h 4159623"/>
                <a:gd name="connsiteX23" fmla="*/ 511025 w 2178423"/>
                <a:gd name="connsiteY23" fmla="*/ 601173 h 4159623"/>
                <a:gd name="connsiteX24" fmla="*/ 675796 w 2178423"/>
                <a:gd name="connsiteY24" fmla="*/ 557694 h 4159623"/>
                <a:gd name="connsiteX25" fmla="*/ 723847 w 2178423"/>
                <a:gd name="connsiteY25" fmla="*/ 247067 h 4159623"/>
                <a:gd name="connsiteX26" fmla="*/ 873378 w 2178423"/>
                <a:gd name="connsiteY26" fmla="*/ 71628 h 4159623"/>
                <a:gd name="connsiteX27" fmla="*/ 1164552 w 2178423"/>
                <a:gd name="connsiteY27" fmla="*/ 139491 h 4159623"/>
                <a:gd name="connsiteX28" fmla="*/ 1179523 w 2178423"/>
                <a:gd name="connsiteY28" fmla="*/ 384227 h 4159623"/>
                <a:gd name="connsiteX29" fmla="*/ 1180689 w 2178423"/>
                <a:gd name="connsiteY29" fmla="*/ 513767 h 4159623"/>
                <a:gd name="connsiteX30" fmla="*/ 1336137 w 2178423"/>
                <a:gd name="connsiteY30" fmla="*/ 770785 h 4159623"/>
                <a:gd name="connsiteX31" fmla="*/ 1403910 w 2178423"/>
                <a:gd name="connsiteY31" fmla="*/ 1082578 h 4159623"/>
                <a:gd name="connsiteX32" fmla="*/ 1590196 w 2178423"/>
                <a:gd name="connsiteY32" fmla="*/ 1497554 h 4159623"/>
                <a:gd name="connsiteX33" fmla="*/ 1607319 w 2178423"/>
                <a:gd name="connsiteY33" fmla="*/ 1675683 h 4159623"/>
                <a:gd name="connsiteX34" fmla="*/ 1634841 w 2178423"/>
                <a:gd name="connsiteY34" fmla="*/ 1923826 h 4159623"/>
                <a:gd name="connsiteX35" fmla="*/ 1732466 w 2178423"/>
                <a:gd name="connsiteY35" fmla="*/ 2063496 h 4159623"/>
                <a:gd name="connsiteX36" fmla="*/ 1869627 w 2178423"/>
                <a:gd name="connsiteY36" fmla="*/ 2245838 h 4159623"/>
                <a:gd name="connsiteX37" fmla="*/ 1832154 w 2178423"/>
                <a:gd name="connsiteY37" fmla="*/ 2399852 h 4159623"/>
                <a:gd name="connsiteX38" fmla="*/ 2104233 w 2178423"/>
                <a:gd name="connsiteY38" fmla="*/ 2563727 h 4159623"/>
                <a:gd name="connsiteX39" fmla="*/ 2159903 w 2178423"/>
                <a:gd name="connsiteY39" fmla="*/ 2811242 h 4159623"/>
                <a:gd name="connsiteX40" fmla="*/ 1955956 w 2178423"/>
                <a:gd name="connsiteY40" fmla="*/ 3262794 h 4159623"/>
                <a:gd name="connsiteX41" fmla="*/ 1765815 w 2178423"/>
                <a:gd name="connsiteY41" fmla="*/ 3594578 h 4159623"/>
                <a:gd name="connsiteX42" fmla="*/ 1570474 w 2178423"/>
                <a:gd name="connsiteY42" fmla="*/ 3752088 h 4159623"/>
                <a:gd name="connsiteX43" fmla="*/ 1350032 w 2178423"/>
                <a:gd name="connsiteY43" fmla="*/ 3879745 h 4159623"/>
                <a:gd name="connsiteX44" fmla="*/ 1060382 w 2178423"/>
                <a:gd name="connsiteY44" fmla="*/ 4039407 h 4159623"/>
                <a:gd name="connsiteX45" fmla="*/ 795565 w 2178423"/>
                <a:gd name="connsiteY45" fmla="*/ 4127799 h 4159623"/>
                <a:gd name="connsiteX46" fmla="*/ 799689 w 2178423"/>
                <a:gd name="connsiteY46" fmla="*/ 4119372 h 4159623"/>
                <a:gd name="connsiteX47" fmla="*/ 800944 w 2178423"/>
                <a:gd name="connsiteY47" fmla="*/ 4116683 h 4159623"/>
                <a:gd name="connsiteX48" fmla="*/ 671493 w 2178423"/>
                <a:gd name="connsiteY48" fmla="*/ 3984722 h 4159623"/>
                <a:gd name="connsiteX49" fmla="*/ 671493 w 2178423"/>
                <a:gd name="connsiteY49" fmla="*/ 3984722 h 4159623"/>
                <a:gd name="connsiteX50" fmla="*/ 368666 w 2178423"/>
                <a:gd name="connsiteY50" fmla="*/ 4155410 h 4159623"/>
                <a:gd name="connsiteX51" fmla="*/ 368666 w 2178423"/>
                <a:gd name="connsiteY51" fmla="*/ 4155410 h 4159623"/>
                <a:gd name="connsiteX52" fmla="*/ 251766 w 2178423"/>
                <a:gd name="connsiteY52" fmla="*/ 4126902 h 4159623"/>
                <a:gd name="connsiteX53" fmla="*/ 251766 w 2178423"/>
                <a:gd name="connsiteY53" fmla="*/ 4126902 h 4159623"/>
                <a:gd name="connsiteX54" fmla="*/ 198426 w 2178423"/>
                <a:gd name="connsiteY54" fmla="*/ 4116234 h 4159623"/>
                <a:gd name="connsiteX55" fmla="*/ 148313 w 2178423"/>
                <a:gd name="connsiteY55" fmla="*/ 3998080 h 4159623"/>
                <a:gd name="connsiteX56" fmla="*/ 235540 w 2178423"/>
                <a:gd name="connsiteY56" fmla="*/ 4052944 h 4159623"/>
                <a:gd name="connsiteX57" fmla="*/ 198426 w 2178423"/>
                <a:gd name="connsiteY57" fmla="*/ 4116234 h 4159623"/>
                <a:gd name="connsiteX58" fmla="*/ 291121 w 2178423"/>
                <a:gd name="connsiteY58" fmla="*/ 4112559 h 4159623"/>
                <a:gd name="connsiteX59" fmla="*/ 291121 w 2178423"/>
                <a:gd name="connsiteY59" fmla="*/ 4112559 h 4159623"/>
                <a:gd name="connsiteX60" fmla="*/ 495426 w 2178423"/>
                <a:gd name="connsiteY60" fmla="*/ 4061729 h 4159623"/>
                <a:gd name="connsiteX61" fmla="*/ 495426 w 2178423"/>
                <a:gd name="connsiteY61" fmla="*/ 4061729 h 4159623"/>
                <a:gd name="connsiteX62" fmla="*/ 442714 w 2178423"/>
                <a:gd name="connsiteY62" fmla="*/ 4026587 h 4159623"/>
                <a:gd name="connsiteX63" fmla="*/ 442714 w 2178423"/>
                <a:gd name="connsiteY63" fmla="*/ 4026587 h 4159623"/>
                <a:gd name="connsiteX64" fmla="*/ 560510 w 2178423"/>
                <a:gd name="connsiteY64" fmla="*/ 3982481 h 4159623"/>
                <a:gd name="connsiteX65" fmla="*/ 560510 w 2178423"/>
                <a:gd name="connsiteY65" fmla="*/ 3982481 h 4159623"/>
                <a:gd name="connsiteX66" fmla="*/ 338992 w 2178423"/>
                <a:gd name="connsiteY66" fmla="*/ 4020940 h 4159623"/>
                <a:gd name="connsiteX67" fmla="*/ 338992 w 2178423"/>
                <a:gd name="connsiteY67" fmla="*/ 4020940 h 4159623"/>
                <a:gd name="connsiteX68" fmla="*/ 541595 w 2178423"/>
                <a:gd name="connsiteY68" fmla="*/ 3958097 h 4159623"/>
                <a:gd name="connsiteX69" fmla="*/ 541595 w 2178423"/>
                <a:gd name="connsiteY69" fmla="*/ 3958097 h 4159623"/>
                <a:gd name="connsiteX70" fmla="*/ 455085 w 2178423"/>
                <a:gd name="connsiteY70" fmla="*/ 3964103 h 4159623"/>
                <a:gd name="connsiteX71" fmla="*/ 455085 w 2178423"/>
                <a:gd name="connsiteY71" fmla="*/ 3964103 h 4159623"/>
                <a:gd name="connsiteX72" fmla="*/ 237243 w 2178423"/>
                <a:gd name="connsiteY72" fmla="*/ 3981674 h 4159623"/>
                <a:gd name="connsiteX73" fmla="*/ 237243 w 2178423"/>
                <a:gd name="connsiteY73" fmla="*/ 3981674 h 4159623"/>
                <a:gd name="connsiteX74" fmla="*/ 300265 w 2178423"/>
                <a:gd name="connsiteY74" fmla="*/ 2944547 h 4159623"/>
                <a:gd name="connsiteX75" fmla="*/ 300265 w 2178423"/>
                <a:gd name="connsiteY75" fmla="*/ 2944547 h 4159623"/>
                <a:gd name="connsiteX76" fmla="*/ 307347 w 2178423"/>
                <a:gd name="connsiteY76" fmla="*/ 2864761 h 4159623"/>
                <a:gd name="connsiteX77" fmla="*/ 307347 w 2178423"/>
                <a:gd name="connsiteY77" fmla="*/ 2864761 h 4159623"/>
                <a:gd name="connsiteX78" fmla="*/ 316312 w 2178423"/>
                <a:gd name="connsiteY78" fmla="*/ 2800126 h 4159623"/>
                <a:gd name="connsiteX79" fmla="*/ 316312 w 2178423"/>
                <a:gd name="connsiteY79" fmla="*/ 2800126 h 4159623"/>
                <a:gd name="connsiteX80" fmla="*/ 808653 w 2178423"/>
                <a:gd name="connsiteY80" fmla="*/ 2081156 h 4159623"/>
                <a:gd name="connsiteX81" fmla="*/ 808653 w 2178423"/>
                <a:gd name="connsiteY81" fmla="*/ 2081156 h 4159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2178423" h="4159623">
                  <a:moveTo>
                    <a:pt x="800944" y="4116683"/>
                  </a:moveTo>
                  <a:cubicBezTo>
                    <a:pt x="793324" y="4102339"/>
                    <a:pt x="750472" y="4089520"/>
                    <a:pt x="789648" y="4045772"/>
                  </a:cubicBezTo>
                  <a:cubicBezTo>
                    <a:pt x="737115" y="4024705"/>
                    <a:pt x="703408" y="4170919"/>
                    <a:pt x="657060" y="4042186"/>
                  </a:cubicBezTo>
                  <a:cubicBezTo>
                    <a:pt x="670866" y="4008927"/>
                    <a:pt x="573688" y="3996018"/>
                    <a:pt x="603003" y="3938016"/>
                  </a:cubicBezTo>
                  <a:cubicBezTo>
                    <a:pt x="584715" y="3876787"/>
                    <a:pt x="480635" y="3949670"/>
                    <a:pt x="520259" y="3870153"/>
                  </a:cubicBezTo>
                  <a:cubicBezTo>
                    <a:pt x="473911" y="3958545"/>
                    <a:pt x="375837" y="3896151"/>
                    <a:pt x="433839" y="3828288"/>
                  </a:cubicBezTo>
                  <a:cubicBezTo>
                    <a:pt x="373686" y="3677233"/>
                    <a:pt x="497309" y="3515689"/>
                    <a:pt x="390450" y="3370012"/>
                  </a:cubicBezTo>
                  <a:cubicBezTo>
                    <a:pt x="378168" y="3249258"/>
                    <a:pt x="295155" y="3141412"/>
                    <a:pt x="315953" y="3012500"/>
                  </a:cubicBezTo>
                  <a:cubicBezTo>
                    <a:pt x="373237" y="2935941"/>
                    <a:pt x="368576" y="2744455"/>
                    <a:pt x="411427" y="2810704"/>
                  </a:cubicBezTo>
                  <a:cubicBezTo>
                    <a:pt x="482338" y="2819311"/>
                    <a:pt x="410889" y="2723926"/>
                    <a:pt x="489958" y="2778969"/>
                  </a:cubicBezTo>
                  <a:cubicBezTo>
                    <a:pt x="474897" y="2803533"/>
                    <a:pt x="471491" y="2601109"/>
                    <a:pt x="575750" y="2613033"/>
                  </a:cubicBezTo>
                  <a:cubicBezTo>
                    <a:pt x="554235" y="2585063"/>
                    <a:pt x="535409" y="2544991"/>
                    <a:pt x="616719" y="2537729"/>
                  </a:cubicBezTo>
                  <a:cubicBezTo>
                    <a:pt x="682520" y="2449247"/>
                    <a:pt x="750383" y="2323204"/>
                    <a:pt x="794310" y="2212848"/>
                  </a:cubicBezTo>
                  <a:cubicBezTo>
                    <a:pt x="764637" y="2085191"/>
                    <a:pt x="951372" y="2117464"/>
                    <a:pt x="932994" y="2094424"/>
                  </a:cubicBezTo>
                  <a:cubicBezTo>
                    <a:pt x="862800" y="2053366"/>
                    <a:pt x="987768" y="2067530"/>
                    <a:pt x="901438" y="1999129"/>
                  </a:cubicBezTo>
                  <a:cubicBezTo>
                    <a:pt x="963115" y="1823690"/>
                    <a:pt x="740701" y="1832386"/>
                    <a:pt x="683058" y="1741305"/>
                  </a:cubicBezTo>
                  <a:cubicBezTo>
                    <a:pt x="580950" y="1638838"/>
                    <a:pt x="627387" y="1483569"/>
                    <a:pt x="591887" y="1363532"/>
                  </a:cubicBezTo>
                  <a:cubicBezTo>
                    <a:pt x="513087" y="1285180"/>
                    <a:pt x="543926" y="1219648"/>
                    <a:pt x="527879" y="1140221"/>
                  </a:cubicBezTo>
                  <a:cubicBezTo>
                    <a:pt x="429088" y="1126684"/>
                    <a:pt x="541415" y="932329"/>
                    <a:pt x="440025" y="884099"/>
                  </a:cubicBezTo>
                  <a:cubicBezTo>
                    <a:pt x="403180" y="791494"/>
                    <a:pt x="287535" y="786294"/>
                    <a:pt x="217072" y="733403"/>
                  </a:cubicBezTo>
                  <a:cubicBezTo>
                    <a:pt x="149927" y="697813"/>
                    <a:pt x="58845" y="589160"/>
                    <a:pt x="8643" y="560742"/>
                  </a:cubicBezTo>
                  <a:cubicBezTo>
                    <a:pt x="55528" y="498976"/>
                    <a:pt x="98918" y="578223"/>
                    <a:pt x="83319" y="472709"/>
                  </a:cubicBezTo>
                  <a:cubicBezTo>
                    <a:pt x="225141" y="370332"/>
                    <a:pt x="229264" y="681587"/>
                    <a:pt x="361404" y="668050"/>
                  </a:cubicBezTo>
                  <a:cubicBezTo>
                    <a:pt x="433570" y="725693"/>
                    <a:pt x="464767" y="595705"/>
                    <a:pt x="511025" y="601173"/>
                  </a:cubicBezTo>
                  <a:cubicBezTo>
                    <a:pt x="573330" y="632191"/>
                    <a:pt x="689602" y="689834"/>
                    <a:pt x="675796" y="557694"/>
                  </a:cubicBezTo>
                  <a:cubicBezTo>
                    <a:pt x="795296" y="518070"/>
                    <a:pt x="683058" y="348548"/>
                    <a:pt x="723847" y="247067"/>
                  </a:cubicBezTo>
                  <a:cubicBezTo>
                    <a:pt x="718827" y="163964"/>
                    <a:pt x="789648" y="68042"/>
                    <a:pt x="873378" y="71628"/>
                  </a:cubicBezTo>
                  <a:cubicBezTo>
                    <a:pt x="947427" y="-96998"/>
                    <a:pt x="1040122" y="124699"/>
                    <a:pt x="1164552" y="139491"/>
                  </a:cubicBezTo>
                  <a:cubicBezTo>
                    <a:pt x="1252586" y="209057"/>
                    <a:pt x="1124659" y="313048"/>
                    <a:pt x="1179523" y="384227"/>
                  </a:cubicBezTo>
                  <a:cubicBezTo>
                    <a:pt x="1100813" y="471544"/>
                    <a:pt x="1231070" y="403950"/>
                    <a:pt x="1180689" y="513767"/>
                  </a:cubicBezTo>
                  <a:cubicBezTo>
                    <a:pt x="1123494" y="650569"/>
                    <a:pt x="1232953" y="725783"/>
                    <a:pt x="1336137" y="770785"/>
                  </a:cubicBezTo>
                  <a:cubicBezTo>
                    <a:pt x="1450257" y="851826"/>
                    <a:pt x="1484233" y="957610"/>
                    <a:pt x="1403910" y="1082578"/>
                  </a:cubicBezTo>
                  <a:cubicBezTo>
                    <a:pt x="1328965" y="1247528"/>
                    <a:pt x="1533539" y="1358332"/>
                    <a:pt x="1590196" y="1497554"/>
                  </a:cubicBezTo>
                  <a:cubicBezTo>
                    <a:pt x="1630986" y="1579671"/>
                    <a:pt x="1670789" y="1638390"/>
                    <a:pt x="1607319" y="1675683"/>
                  </a:cubicBezTo>
                  <a:cubicBezTo>
                    <a:pt x="1583473" y="1791328"/>
                    <a:pt x="1688988" y="1838123"/>
                    <a:pt x="1634841" y="1923826"/>
                  </a:cubicBezTo>
                  <a:cubicBezTo>
                    <a:pt x="1638427" y="2012397"/>
                    <a:pt x="1787868" y="1949734"/>
                    <a:pt x="1732466" y="2063496"/>
                  </a:cubicBezTo>
                  <a:cubicBezTo>
                    <a:pt x="1728970" y="2169638"/>
                    <a:pt x="1866578" y="2157625"/>
                    <a:pt x="1869627" y="2245838"/>
                  </a:cubicBezTo>
                  <a:cubicBezTo>
                    <a:pt x="1883432" y="2296758"/>
                    <a:pt x="1807949" y="2362648"/>
                    <a:pt x="1832154" y="2399852"/>
                  </a:cubicBezTo>
                  <a:cubicBezTo>
                    <a:pt x="1901810" y="2493264"/>
                    <a:pt x="2038432" y="2471839"/>
                    <a:pt x="2104233" y="2563727"/>
                  </a:cubicBezTo>
                  <a:cubicBezTo>
                    <a:pt x="2206520" y="2598868"/>
                    <a:pt x="2175233" y="2722671"/>
                    <a:pt x="2159903" y="2811242"/>
                  </a:cubicBezTo>
                  <a:cubicBezTo>
                    <a:pt x="2096434" y="2963732"/>
                    <a:pt x="2009296" y="3105733"/>
                    <a:pt x="1955956" y="3262794"/>
                  </a:cubicBezTo>
                  <a:cubicBezTo>
                    <a:pt x="1889618" y="3380860"/>
                    <a:pt x="1840581" y="3488974"/>
                    <a:pt x="1765815" y="3594578"/>
                  </a:cubicBezTo>
                  <a:cubicBezTo>
                    <a:pt x="1709786" y="3685839"/>
                    <a:pt x="1707455" y="3785527"/>
                    <a:pt x="1570474" y="3752088"/>
                  </a:cubicBezTo>
                  <a:cubicBezTo>
                    <a:pt x="1488716" y="3815200"/>
                    <a:pt x="1412785" y="3827661"/>
                    <a:pt x="1350032" y="3879745"/>
                  </a:cubicBezTo>
                  <a:cubicBezTo>
                    <a:pt x="1254558" y="3913453"/>
                    <a:pt x="1123225" y="3956663"/>
                    <a:pt x="1060382" y="4039407"/>
                  </a:cubicBezTo>
                  <a:cubicBezTo>
                    <a:pt x="1006056" y="3985439"/>
                    <a:pt x="823087" y="4167333"/>
                    <a:pt x="795565" y="4127799"/>
                  </a:cubicBezTo>
                  <a:lnTo>
                    <a:pt x="799689" y="4119372"/>
                  </a:lnTo>
                  <a:lnTo>
                    <a:pt x="800944" y="4116683"/>
                  </a:lnTo>
                  <a:close/>
                  <a:moveTo>
                    <a:pt x="671493" y="3984722"/>
                  </a:moveTo>
                  <a:cubicBezTo>
                    <a:pt x="625863" y="4026857"/>
                    <a:pt x="668177" y="3984543"/>
                    <a:pt x="671493" y="3984722"/>
                  </a:cubicBezTo>
                  <a:close/>
                  <a:moveTo>
                    <a:pt x="368666" y="4155410"/>
                  </a:moveTo>
                  <a:cubicBezTo>
                    <a:pt x="359701" y="4090147"/>
                    <a:pt x="432225" y="4168678"/>
                    <a:pt x="368666" y="4155410"/>
                  </a:cubicBezTo>
                  <a:close/>
                  <a:moveTo>
                    <a:pt x="251766" y="4126902"/>
                  </a:moveTo>
                  <a:cubicBezTo>
                    <a:pt x="269247" y="4082437"/>
                    <a:pt x="284756" y="4161416"/>
                    <a:pt x="251766" y="4126902"/>
                  </a:cubicBezTo>
                  <a:close/>
                  <a:moveTo>
                    <a:pt x="198426" y="4116234"/>
                  </a:moveTo>
                  <a:cubicBezTo>
                    <a:pt x="135673" y="4083962"/>
                    <a:pt x="16801" y="4054199"/>
                    <a:pt x="148313" y="3998080"/>
                  </a:cubicBezTo>
                  <a:cubicBezTo>
                    <a:pt x="140514" y="3916411"/>
                    <a:pt x="328504" y="4038869"/>
                    <a:pt x="235540" y="4052944"/>
                  </a:cubicBezTo>
                  <a:cubicBezTo>
                    <a:pt x="260282" y="4072576"/>
                    <a:pt x="236167" y="4169305"/>
                    <a:pt x="198426" y="4116234"/>
                  </a:cubicBezTo>
                  <a:close/>
                  <a:moveTo>
                    <a:pt x="291121" y="4112559"/>
                  </a:moveTo>
                  <a:cubicBezTo>
                    <a:pt x="301699" y="4053661"/>
                    <a:pt x="338992" y="4142860"/>
                    <a:pt x="291121" y="4112559"/>
                  </a:cubicBezTo>
                  <a:close/>
                  <a:moveTo>
                    <a:pt x="495426" y="4061729"/>
                  </a:moveTo>
                  <a:cubicBezTo>
                    <a:pt x="478214" y="3990280"/>
                    <a:pt x="672569" y="4029994"/>
                    <a:pt x="495426" y="4061729"/>
                  </a:cubicBezTo>
                  <a:close/>
                  <a:moveTo>
                    <a:pt x="442714" y="4026587"/>
                  </a:moveTo>
                  <a:cubicBezTo>
                    <a:pt x="471042" y="3927438"/>
                    <a:pt x="503495" y="4058860"/>
                    <a:pt x="442714" y="4026587"/>
                  </a:cubicBezTo>
                  <a:close/>
                  <a:moveTo>
                    <a:pt x="560510" y="3982481"/>
                  </a:moveTo>
                  <a:cubicBezTo>
                    <a:pt x="574854" y="3943036"/>
                    <a:pt x="585074" y="4007044"/>
                    <a:pt x="560510" y="3982481"/>
                  </a:cubicBezTo>
                  <a:close/>
                  <a:moveTo>
                    <a:pt x="338992" y="4020940"/>
                  </a:moveTo>
                  <a:cubicBezTo>
                    <a:pt x="308871" y="3942947"/>
                    <a:pt x="356653" y="3993687"/>
                    <a:pt x="338992" y="4020940"/>
                  </a:cubicBezTo>
                  <a:close/>
                  <a:moveTo>
                    <a:pt x="541595" y="3958097"/>
                  </a:moveTo>
                  <a:cubicBezTo>
                    <a:pt x="538188" y="3872125"/>
                    <a:pt x="619767" y="3993597"/>
                    <a:pt x="541595" y="3958097"/>
                  </a:cubicBezTo>
                  <a:close/>
                  <a:moveTo>
                    <a:pt x="455085" y="3964103"/>
                  </a:moveTo>
                  <a:cubicBezTo>
                    <a:pt x="445493" y="3898123"/>
                    <a:pt x="485207" y="3985260"/>
                    <a:pt x="455085" y="3964103"/>
                  </a:cubicBezTo>
                  <a:close/>
                  <a:moveTo>
                    <a:pt x="237243" y="3981674"/>
                  </a:moveTo>
                  <a:cubicBezTo>
                    <a:pt x="250690" y="3949670"/>
                    <a:pt x="265482" y="4012782"/>
                    <a:pt x="237243" y="3981674"/>
                  </a:cubicBezTo>
                  <a:close/>
                  <a:moveTo>
                    <a:pt x="300265" y="2944547"/>
                  </a:moveTo>
                  <a:cubicBezTo>
                    <a:pt x="317746" y="2900082"/>
                    <a:pt x="333255" y="2979061"/>
                    <a:pt x="300265" y="2944547"/>
                  </a:cubicBezTo>
                  <a:close/>
                  <a:moveTo>
                    <a:pt x="307347" y="2864761"/>
                  </a:moveTo>
                  <a:cubicBezTo>
                    <a:pt x="225678" y="2789279"/>
                    <a:pt x="431060" y="2816352"/>
                    <a:pt x="307347" y="2864761"/>
                  </a:cubicBezTo>
                  <a:close/>
                  <a:moveTo>
                    <a:pt x="316312" y="2800126"/>
                  </a:moveTo>
                  <a:cubicBezTo>
                    <a:pt x="313264" y="2731277"/>
                    <a:pt x="375479" y="2826393"/>
                    <a:pt x="316312" y="2800126"/>
                  </a:cubicBezTo>
                  <a:close/>
                  <a:moveTo>
                    <a:pt x="808653" y="2081156"/>
                  </a:moveTo>
                  <a:cubicBezTo>
                    <a:pt x="758003" y="1952244"/>
                    <a:pt x="993506" y="2077212"/>
                    <a:pt x="808653" y="2081156"/>
                  </a:cubicBezTo>
                  <a:close/>
                </a:path>
              </a:pathLst>
            </a:custGeom>
            <a:grpFill/>
            <a:ln w="3175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80BCF1D-5058-407E-92EF-3E6740642721}"/>
                </a:ext>
              </a:extLst>
            </p:cNvPr>
            <p:cNvSpPr/>
            <p:nvPr/>
          </p:nvSpPr>
          <p:spPr>
            <a:xfrm>
              <a:off x="4232708" y="5507281"/>
              <a:ext cx="1129553" cy="1353671"/>
            </a:xfrm>
            <a:custGeom>
              <a:avLst/>
              <a:gdLst>
                <a:gd name="connsiteX0" fmla="*/ 916350 w 1129553"/>
                <a:gd name="connsiteY0" fmla="*/ 1342382 h 1353670"/>
                <a:gd name="connsiteX1" fmla="*/ 893311 w 1129553"/>
                <a:gd name="connsiteY1" fmla="*/ 1318356 h 1353670"/>
                <a:gd name="connsiteX2" fmla="*/ 799809 w 1129553"/>
                <a:gd name="connsiteY2" fmla="*/ 1328128 h 1353670"/>
                <a:gd name="connsiteX3" fmla="*/ 694563 w 1129553"/>
                <a:gd name="connsiteY3" fmla="*/ 1248521 h 1353670"/>
                <a:gd name="connsiteX4" fmla="*/ 728808 w 1129553"/>
                <a:gd name="connsiteY4" fmla="*/ 1181555 h 1353670"/>
                <a:gd name="connsiteX5" fmla="*/ 850818 w 1129553"/>
                <a:gd name="connsiteY5" fmla="*/ 1220731 h 1353670"/>
                <a:gd name="connsiteX6" fmla="*/ 867941 w 1129553"/>
                <a:gd name="connsiteY6" fmla="*/ 1196885 h 1353670"/>
                <a:gd name="connsiteX7" fmla="*/ 932666 w 1129553"/>
                <a:gd name="connsiteY7" fmla="*/ 1195182 h 1353670"/>
                <a:gd name="connsiteX8" fmla="*/ 941541 w 1129553"/>
                <a:gd name="connsiteY8" fmla="*/ 1198229 h 1353670"/>
                <a:gd name="connsiteX9" fmla="*/ 969242 w 1129553"/>
                <a:gd name="connsiteY9" fmla="*/ 1177879 h 1353670"/>
                <a:gd name="connsiteX10" fmla="*/ 1005997 w 1129553"/>
                <a:gd name="connsiteY10" fmla="*/ 1140228 h 1353670"/>
                <a:gd name="connsiteX11" fmla="*/ 1056289 w 1129553"/>
                <a:gd name="connsiteY11" fmla="*/ 1191685 h 1353670"/>
                <a:gd name="connsiteX12" fmla="*/ 970766 w 1129553"/>
                <a:gd name="connsiteY12" fmla="*/ 1216159 h 1353670"/>
                <a:gd name="connsiteX13" fmla="*/ 932576 w 1129553"/>
                <a:gd name="connsiteY13" fmla="*/ 1349105 h 1353670"/>
                <a:gd name="connsiteX14" fmla="*/ 916350 w 1129553"/>
                <a:gd name="connsiteY14" fmla="*/ 1342382 h 1353670"/>
                <a:gd name="connsiteX15" fmla="*/ 910702 w 1129553"/>
                <a:gd name="connsiteY15" fmla="*/ 1287518 h 1353670"/>
                <a:gd name="connsiteX16" fmla="*/ 910702 w 1129553"/>
                <a:gd name="connsiteY16" fmla="*/ 1287518 h 1353670"/>
                <a:gd name="connsiteX17" fmla="*/ 897076 w 1129553"/>
                <a:gd name="connsiteY17" fmla="*/ 1253183 h 1353670"/>
                <a:gd name="connsiteX18" fmla="*/ 897076 w 1129553"/>
                <a:gd name="connsiteY18" fmla="*/ 1253183 h 1353670"/>
                <a:gd name="connsiteX19" fmla="*/ 892325 w 1129553"/>
                <a:gd name="connsiteY19" fmla="*/ 1241977 h 1353670"/>
                <a:gd name="connsiteX20" fmla="*/ 892325 w 1129553"/>
                <a:gd name="connsiteY20" fmla="*/ 1241977 h 1353670"/>
                <a:gd name="connsiteX21" fmla="*/ 613522 w 1129553"/>
                <a:gd name="connsiteY21" fmla="*/ 1277119 h 1353670"/>
                <a:gd name="connsiteX22" fmla="*/ 621949 w 1129553"/>
                <a:gd name="connsiteY22" fmla="*/ 1208718 h 1353670"/>
                <a:gd name="connsiteX23" fmla="*/ 674482 w 1129553"/>
                <a:gd name="connsiteY23" fmla="*/ 1105803 h 1353670"/>
                <a:gd name="connsiteX24" fmla="*/ 629479 w 1129553"/>
                <a:gd name="connsiteY24" fmla="*/ 1268333 h 1353670"/>
                <a:gd name="connsiteX25" fmla="*/ 613522 w 1129553"/>
                <a:gd name="connsiteY25" fmla="*/ 1277119 h 1353670"/>
                <a:gd name="connsiteX26" fmla="*/ 316880 w 1129553"/>
                <a:gd name="connsiteY26" fmla="*/ 1237584 h 1353670"/>
                <a:gd name="connsiteX27" fmla="*/ 254486 w 1129553"/>
                <a:gd name="connsiteY27" fmla="*/ 1214366 h 1353670"/>
                <a:gd name="connsiteX28" fmla="*/ 132207 w 1129553"/>
                <a:gd name="connsiteY28" fmla="*/ 1191954 h 1353670"/>
                <a:gd name="connsiteX29" fmla="*/ 130593 w 1129553"/>
                <a:gd name="connsiteY29" fmla="*/ 1037313 h 1353670"/>
                <a:gd name="connsiteX30" fmla="*/ 54573 w 1129553"/>
                <a:gd name="connsiteY30" fmla="*/ 912434 h 1353670"/>
                <a:gd name="connsiteX31" fmla="*/ 42291 w 1129553"/>
                <a:gd name="connsiteY31" fmla="*/ 941301 h 1353670"/>
                <a:gd name="connsiteX32" fmla="*/ 26872 w 1129553"/>
                <a:gd name="connsiteY32" fmla="*/ 784777 h 1353670"/>
                <a:gd name="connsiteX33" fmla="*/ 36733 w 1129553"/>
                <a:gd name="connsiteY33" fmla="*/ 769806 h 1353670"/>
                <a:gd name="connsiteX34" fmla="*/ 70082 w 1129553"/>
                <a:gd name="connsiteY34" fmla="*/ 751070 h 1353670"/>
                <a:gd name="connsiteX35" fmla="*/ 31444 w 1129553"/>
                <a:gd name="connsiteY35" fmla="*/ 717900 h 1353670"/>
                <a:gd name="connsiteX36" fmla="*/ 21403 w 1129553"/>
                <a:gd name="connsiteY36" fmla="*/ 646362 h 1353670"/>
                <a:gd name="connsiteX37" fmla="*/ 62820 w 1129553"/>
                <a:gd name="connsiteY37" fmla="*/ 597594 h 1353670"/>
                <a:gd name="connsiteX38" fmla="*/ 27320 w 1129553"/>
                <a:gd name="connsiteY38" fmla="*/ 542550 h 1353670"/>
                <a:gd name="connsiteX39" fmla="*/ 59683 w 1129553"/>
                <a:gd name="connsiteY39" fmla="*/ 436677 h 1353670"/>
                <a:gd name="connsiteX40" fmla="*/ 122705 w 1129553"/>
                <a:gd name="connsiteY40" fmla="*/ 493245 h 1353670"/>
                <a:gd name="connsiteX41" fmla="*/ 72144 w 1129553"/>
                <a:gd name="connsiteY41" fmla="*/ 410680 h 1353670"/>
                <a:gd name="connsiteX42" fmla="*/ 79584 w 1129553"/>
                <a:gd name="connsiteY42" fmla="*/ 349271 h 1353670"/>
                <a:gd name="connsiteX43" fmla="*/ 203835 w 1129553"/>
                <a:gd name="connsiteY43" fmla="*/ 259894 h 1353670"/>
                <a:gd name="connsiteX44" fmla="*/ 370937 w 1129553"/>
                <a:gd name="connsiteY44" fmla="*/ 211663 h 1353670"/>
                <a:gd name="connsiteX45" fmla="*/ 469549 w 1129553"/>
                <a:gd name="connsiteY45" fmla="*/ 65091 h 1353670"/>
                <a:gd name="connsiteX46" fmla="*/ 622666 w 1129553"/>
                <a:gd name="connsiteY46" fmla="*/ 7716 h 1353670"/>
                <a:gd name="connsiteX47" fmla="*/ 600165 w 1129553"/>
                <a:gd name="connsiteY47" fmla="*/ 116817 h 1353670"/>
                <a:gd name="connsiteX48" fmla="*/ 569326 w 1129553"/>
                <a:gd name="connsiteY48" fmla="*/ 277643 h 1353670"/>
                <a:gd name="connsiteX49" fmla="*/ 547811 w 1129553"/>
                <a:gd name="connsiteY49" fmla="*/ 449138 h 1353670"/>
                <a:gd name="connsiteX50" fmla="*/ 539026 w 1129553"/>
                <a:gd name="connsiteY50" fmla="*/ 455682 h 1353670"/>
                <a:gd name="connsiteX51" fmla="*/ 560093 w 1129553"/>
                <a:gd name="connsiteY51" fmla="*/ 510995 h 1353670"/>
                <a:gd name="connsiteX52" fmla="*/ 693398 w 1129553"/>
                <a:gd name="connsiteY52" fmla="*/ 555549 h 1353670"/>
                <a:gd name="connsiteX53" fmla="*/ 627238 w 1129553"/>
                <a:gd name="connsiteY53" fmla="*/ 684193 h 1353670"/>
                <a:gd name="connsiteX54" fmla="*/ 593800 w 1129553"/>
                <a:gd name="connsiteY54" fmla="*/ 671912 h 1353670"/>
                <a:gd name="connsiteX55" fmla="*/ 574974 w 1129553"/>
                <a:gd name="connsiteY55" fmla="*/ 669401 h 1353670"/>
                <a:gd name="connsiteX56" fmla="*/ 569864 w 1129553"/>
                <a:gd name="connsiteY56" fmla="*/ 640087 h 1353670"/>
                <a:gd name="connsiteX57" fmla="*/ 531316 w 1129553"/>
                <a:gd name="connsiteY57" fmla="*/ 718528 h 1353670"/>
                <a:gd name="connsiteX58" fmla="*/ 497250 w 1129553"/>
                <a:gd name="connsiteY58" fmla="*/ 805665 h 1353670"/>
                <a:gd name="connsiteX59" fmla="*/ 478603 w 1129553"/>
                <a:gd name="connsiteY59" fmla="*/ 809788 h 1353670"/>
                <a:gd name="connsiteX60" fmla="*/ 475376 w 1129553"/>
                <a:gd name="connsiteY60" fmla="*/ 827539 h 1353670"/>
                <a:gd name="connsiteX61" fmla="*/ 384653 w 1129553"/>
                <a:gd name="connsiteY61" fmla="*/ 863577 h 1353670"/>
                <a:gd name="connsiteX62" fmla="*/ 424905 w 1129553"/>
                <a:gd name="connsiteY62" fmla="*/ 900870 h 1353670"/>
                <a:gd name="connsiteX63" fmla="*/ 378737 w 1129553"/>
                <a:gd name="connsiteY63" fmla="*/ 957348 h 1353670"/>
                <a:gd name="connsiteX64" fmla="*/ 402045 w 1129553"/>
                <a:gd name="connsiteY64" fmla="*/ 1053360 h 1353670"/>
                <a:gd name="connsiteX65" fmla="*/ 338485 w 1129553"/>
                <a:gd name="connsiteY65" fmla="*/ 1097645 h 1353670"/>
                <a:gd name="connsiteX66" fmla="*/ 342161 w 1129553"/>
                <a:gd name="connsiteY66" fmla="*/ 1143097 h 1353670"/>
                <a:gd name="connsiteX67" fmla="*/ 369682 w 1129553"/>
                <a:gd name="connsiteY67" fmla="*/ 1132607 h 1353670"/>
                <a:gd name="connsiteX68" fmla="*/ 467487 w 1129553"/>
                <a:gd name="connsiteY68" fmla="*/ 1174831 h 1353670"/>
                <a:gd name="connsiteX69" fmla="*/ 403569 w 1129553"/>
                <a:gd name="connsiteY69" fmla="*/ 1206387 h 1353670"/>
                <a:gd name="connsiteX70" fmla="*/ 362152 w 1129553"/>
                <a:gd name="connsiteY70" fmla="*/ 1226827 h 1353670"/>
                <a:gd name="connsiteX71" fmla="*/ 316880 w 1129553"/>
                <a:gd name="connsiteY71" fmla="*/ 1237584 h 1353670"/>
                <a:gd name="connsiteX72" fmla="*/ 401148 w 1129553"/>
                <a:gd name="connsiteY72" fmla="*/ 1168108 h 1353670"/>
                <a:gd name="connsiteX73" fmla="*/ 401148 w 1129553"/>
                <a:gd name="connsiteY73" fmla="*/ 1168108 h 1353670"/>
                <a:gd name="connsiteX74" fmla="*/ 165108 w 1129553"/>
                <a:gd name="connsiteY74" fmla="*/ 521125 h 1353670"/>
                <a:gd name="connsiteX75" fmla="*/ 189043 w 1129553"/>
                <a:gd name="connsiteY75" fmla="*/ 445373 h 1353670"/>
                <a:gd name="connsiteX76" fmla="*/ 199174 w 1129553"/>
                <a:gd name="connsiteY76" fmla="*/ 429147 h 1353670"/>
                <a:gd name="connsiteX77" fmla="*/ 254755 w 1129553"/>
                <a:gd name="connsiteY77" fmla="*/ 384144 h 1353670"/>
                <a:gd name="connsiteX78" fmla="*/ 273670 w 1129553"/>
                <a:gd name="connsiteY78" fmla="*/ 436229 h 1353670"/>
                <a:gd name="connsiteX79" fmla="*/ 270443 w 1129553"/>
                <a:gd name="connsiteY79" fmla="*/ 470923 h 1353670"/>
                <a:gd name="connsiteX80" fmla="*/ 301102 w 1129553"/>
                <a:gd name="connsiteY80" fmla="*/ 441519 h 1353670"/>
                <a:gd name="connsiteX81" fmla="*/ 278601 w 1129553"/>
                <a:gd name="connsiteY81" fmla="*/ 392840 h 1353670"/>
                <a:gd name="connsiteX82" fmla="*/ 379633 w 1129553"/>
                <a:gd name="connsiteY82" fmla="*/ 322109 h 1353670"/>
                <a:gd name="connsiteX83" fmla="*/ 443731 w 1129553"/>
                <a:gd name="connsiteY83" fmla="*/ 293870 h 1353670"/>
                <a:gd name="connsiteX84" fmla="*/ 431449 w 1129553"/>
                <a:gd name="connsiteY84" fmla="*/ 279885 h 1353670"/>
                <a:gd name="connsiteX85" fmla="*/ 294379 w 1129553"/>
                <a:gd name="connsiteY85" fmla="*/ 320764 h 1353670"/>
                <a:gd name="connsiteX86" fmla="*/ 174341 w 1129553"/>
                <a:gd name="connsiteY86" fmla="*/ 332597 h 1353670"/>
                <a:gd name="connsiteX87" fmla="*/ 226516 w 1129553"/>
                <a:gd name="connsiteY87" fmla="*/ 322646 h 1353670"/>
                <a:gd name="connsiteX88" fmla="*/ 215041 w 1129553"/>
                <a:gd name="connsiteY88" fmla="*/ 400908 h 1353670"/>
                <a:gd name="connsiteX89" fmla="*/ 146192 w 1129553"/>
                <a:gd name="connsiteY89" fmla="*/ 433540 h 1353670"/>
                <a:gd name="connsiteX90" fmla="*/ 128711 w 1129553"/>
                <a:gd name="connsiteY90" fmla="*/ 412831 h 1353670"/>
                <a:gd name="connsiteX91" fmla="*/ 124408 w 1129553"/>
                <a:gd name="connsiteY91" fmla="*/ 443401 h 1353670"/>
                <a:gd name="connsiteX92" fmla="*/ 144668 w 1129553"/>
                <a:gd name="connsiteY92" fmla="*/ 460434 h 1353670"/>
                <a:gd name="connsiteX93" fmla="*/ 144399 w 1129553"/>
                <a:gd name="connsiteY93" fmla="*/ 509023 h 1353670"/>
                <a:gd name="connsiteX94" fmla="*/ 165108 w 1129553"/>
                <a:gd name="connsiteY94" fmla="*/ 521125 h 1353670"/>
                <a:gd name="connsiteX95" fmla="*/ 150316 w 1129553"/>
                <a:gd name="connsiteY95" fmla="*/ 506692 h 1353670"/>
                <a:gd name="connsiteX96" fmla="*/ 150316 w 1129553"/>
                <a:gd name="connsiteY96" fmla="*/ 506692 h 1353670"/>
                <a:gd name="connsiteX97" fmla="*/ 259147 w 1129553"/>
                <a:gd name="connsiteY97" fmla="*/ 361464 h 1353670"/>
                <a:gd name="connsiteX98" fmla="*/ 259147 w 1129553"/>
                <a:gd name="connsiteY98" fmla="*/ 361464 h 1353670"/>
                <a:gd name="connsiteX99" fmla="*/ 318494 w 1129553"/>
                <a:gd name="connsiteY99" fmla="*/ 505437 h 1353670"/>
                <a:gd name="connsiteX100" fmla="*/ 303523 w 1129553"/>
                <a:gd name="connsiteY100" fmla="*/ 484729 h 1353670"/>
                <a:gd name="connsiteX101" fmla="*/ 318494 w 1129553"/>
                <a:gd name="connsiteY101" fmla="*/ 505437 h 1353670"/>
                <a:gd name="connsiteX102" fmla="*/ 134897 w 1129553"/>
                <a:gd name="connsiteY102" fmla="*/ 402881 h 1353670"/>
                <a:gd name="connsiteX103" fmla="*/ 159549 w 1129553"/>
                <a:gd name="connsiteY103" fmla="*/ 352768 h 1353670"/>
                <a:gd name="connsiteX104" fmla="*/ 134897 w 1129553"/>
                <a:gd name="connsiteY104" fmla="*/ 402881 h 1353670"/>
                <a:gd name="connsiteX105" fmla="*/ 538577 w 1129553"/>
                <a:gd name="connsiteY105" fmla="*/ 1227544 h 1353670"/>
                <a:gd name="connsiteX106" fmla="*/ 528895 w 1129553"/>
                <a:gd name="connsiteY106" fmla="*/ 1187561 h 1353670"/>
                <a:gd name="connsiteX107" fmla="*/ 567175 w 1129553"/>
                <a:gd name="connsiteY107" fmla="*/ 1209794 h 1353670"/>
                <a:gd name="connsiteX108" fmla="*/ 538577 w 1129553"/>
                <a:gd name="connsiteY108" fmla="*/ 1227544 h 1353670"/>
                <a:gd name="connsiteX109" fmla="*/ 814511 w 1129553"/>
                <a:gd name="connsiteY109" fmla="*/ 1214455 h 1353670"/>
                <a:gd name="connsiteX110" fmla="*/ 814511 w 1129553"/>
                <a:gd name="connsiteY110" fmla="*/ 1214455 h 1353670"/>
                <a:gd name="connsiteX111" fmla="*/ 598013 w 1129553"/>
                <a:gd name="connsiteY111" fmla="*/ 1207463 h 1353670"/>
                <a:gd name="connsiteX112" fmla="*/ 598013 w 1129553"/>
                <a:gd name="connsiteY112" fmla="*/ 1207463 h 1353670"/>
                <a:gd name="connsiteX113" fmla="*/ 787707 w 1129553"/>
                <a:gd name="connsiteY113" fmla="*/ 1192851 h 1353670"/>
                <a:gd name="connsiteX114" fmla="*/ 787707 w 1129553"/>
                <a:gd name="connsiteY114" fmla="*/ 1192851 h 1353670"/>
                <a:gd name="connsiteX115" fmla="*/ 583491 w 1129553"/>
                <a:gd name="connsiteY115" fmla="*/ 1177252 h 1353670"/>
                <a:gd name="connsiteX116" fmla="*/ 583580 w 1129553"/>
                <a:gd name="connsiteY116" fmla="*/ 1152240 h 1353670"/>
                <a:gd name="connsiteX117" fmla="*/ 499222 w 1129553"/>
                <a:gd name="connsiteY117" fmla="*/ 1135387 h 1353670"/>
                <a:gd name="connsiteX118" fmla="*/ 490347 w 1129553"/>
                <a:gd name="connsiteY118" fmla="*/ 1102307 h 1353670"/>
                <a:gd name="connsiteX119" fmla="*/ 462019 w 1129553"/>
                <a:gd name="connsiteY119" fmla="*/ 1110555 h 1353670"/>
                <a:gd name="connsiteX120" fmla="*/ 430373 w 1129553"/>
                <a:gd name="connsiteY120" fmla="*/ 1046277 h 1353670"/>
                <a:gd name="connsiteX121" fmla="*/ 410561 w 1129553"/>
                <a:gd name="connsiteY121" fmla="*/ 982449 h 1353670"/>
                <a:gd name="connsiteX122" fmla="*/ 439607 w 1129553"/>
                <a:gd name="connsiteY122" fmla="*/ 941659 h 1353670"/>
                <a:gd name="connsiteX123" fmla="*/ 566726 w 1129553"/>
                <a:gd name="connsiteY123" fmla="*/ 922923 h 1353670"/>
                <a:gd name="connsiteX124" fmla="*/ 577574 w 1129553"/>
                <a:gd name="connsiteY124" fmla="*/ 966492 h 1353670"/>
                <a:gd name="connsiteX125" fmla="*/ 596758 w 1129553"/>
                <a:gd name="connsiteY125" fmla="*/ 942018 h 1353670"/>
                <a:gd name="connsiteX126" fmla="*/ 623832 w 1129553"/>
                <a:gd name="connsiteY126" fmla="*/ 927585 h 1353670"/>
                <a:gd name="connsiteX127" fmla="*/ 626073 w 1129553"/>
                <a:gd name="connsiteY127" fmla="*/ 976263 h 1353670"/>
                <a:gd name="connsiteX128" fmla="*/ 651443 w 1129553"/>
                <a:gd name="connsiteY128" fmla="*/ 1082136 h 1353670"/>
                <a:gd name="connsiteX129" fmla="*/ 611550 w 1129553"/>
                <a:gd name="connsiteY129" fmla="*/ 1144889 h 1353670"/>
                <a:gd name="connsiteX130" fmla="*/ 583491 w 1129553"/>
                <a:gd name="connsiteY130" fmla="*/ 1177252 h 1353670"/>
                <a:gd name="connsiteX131" fmla="*/ 820159 w 1129553"/>
                <a:gd name="connsiteY131" fmla="*/ 1182989 h 1353670"/>
                <a:gd name="connsiteX132" fmla="*/ 820159 w 1129553"/>
                <a:gd name="connsiteY132" fmla="*/ 1182989 h 1353670"/>
                <a:gd name="connsiteX133" fmla="*/ 928273 w 1129553"/>
                <a:gd name="connsiteY133" fmla="*/ 1181286 h 1353670"/>
                <a:gd name="connsiteX134" fmla="*/ 864355 w 1129553"/>
                <a:gd name="connsiteY134" fmla="*/ 1133594 h 1353670"/>
                <a:gd name="connsiteX135" fmla="*/ 870989 w 1129553"/>
                <a:gd name="connsiteY135" fmla="*/ 1113692 h 1353670"/>
                <a:gd name="connsiteX136" fmla="*/ 862651 w 1129553"/>
                <a:gd name="connsiteY136" fmla="*/ 1088322 h 1353670"/>
                <a:gd name="connsiteX137" fmla="*/ 758661 w 1129553"/>
                <a:gd name="connsiteY137" fmla="*/ 1078551 h 1353670"/>
                <a:gd name="connsiteX138" fmla="*/ 731498 w 1129553"/>
                <a:gd name="connsiteY138" fmla="*/ 1023507 h 1353670"/>
                <a:gd name="connsiteX139" fmla="*/ 725850 w 1129553"/>
                <a:gd name="connsiteY139" fmla="*/ 951700 h 1353670"/>
                <a:gd name="connsiteX140" fmla="*/ 716437 w 1129553"/>
                <a:gd name="connsiteY140" fmla="*/ 899615 h 1353670"/>
                <a:gd name="connsiteX141" fmla="*/ 705142 w 1129553"/>
                <a:gd name="connsiteY141" fmla="*/ 878100 h 1353670"/>
                <a:gd name="connsiteX142" fmla="*/ 694653 w 1129553"/>
                <a:gd name="connsiteY142" fmla="*/ 847620 h 1353670"/>
                <a:gd name="connsiteX143" fmla="*/ 740104 w 1129553"/>
                <a:gd name="connsiteY143" fmla="*/ 857840 h 1353670"/>
                <a:gd name="connsiteX144" fmla="*/ 790934 w 1129553"/>
                <a:gd name="connsiteY144" fmla="*/ 811851 h 1353670"/>
                <a:gd name="connsiteX145" fmla="*/ 764667 w 1129553"/>
                <a:gd name="connsiteY145" fmla="*/ 748560 h 1353670"/>
                <a:gd name="connsiteX146" fmla="*/ 889187 w 1129553"/>
                <a:gd name="connsiteY146" fmla="*/ 758959 h 1353670"/>
                <a:gd name="connsiteX147" fmla="*/ 859514 w 1129553"/>
                <a:gd name="connsiteY147" fmla="*/ 786301 h 1353670"/>
                <a:gd name="connsiteX148" fmla="*/ 853059 w 1129553"/>
                <a:gd name="connsiteY148" fmla="*/ 825925 h 1353670"/>
                <a:gd name="connsiteX149" fmla="*/ 890352 w 1129553"/>
                <a:gd name="connsiteY149" fmla="*/ 859812 h 1353670"/>
                <a:gd name="connsiteX150" fmla="*/ 924329 w 1129553"/>
                <a:gd name="connsiteY150" fmla="*/ 810775 h 1353670"/>
                <a:gd name="connsiteX151" fmla="*/ 943513 w 1129553"/>
                <a:gd name="connsiteY151" fmla="*/ 804948 h 1353670"/>
                <a:gd name="connsiteX152" fmla="*/ 939300 w 1129553"/>
                <a:gd name="connsiteY152" fmla="*/ 869583 h 1353670"/>
                <a:gd name="connsiteX153" fmla="*/ 929259 w 1129553"/>
                <a:gd name="connsiteY153" fmla="*/ 764786 h 1353670"/>
                <a:gd name="connsiteX154" fmla="*/ 981434 w 1129553"/>
                <a:gd name="connsiteY154" fmla="*/ 695130 h 1353670"/>
                <a:gd name="connsiteX155" fmla="*/ 1079149 w 1129553"/>
                <a:gd name="connsiteY155" fmla="*/ 745422 h 1353670"/>
                <a:gd name="connsiteX156" fmla="*/ 1091969 w 1129553"/>
                <a:gd name="connsiteY156" fmla="*/ 877024 h 1353670"/>
                <a:gd name="connsiteX157" fmla="*/ 1060682 w 1129553"/>
                <a:gd name="connsiteY157" fmla="*/ 899615 h 1353670"/>
                <a:gd name="connsiteX158" fmla="*/ 1011017 w 1129553"/>
                <a:gd name="connsiteY158" fmla="*/ 990159 h 1353670"/>
                <a:gd name="connsiteX159" fmla="*/ 983496 w 1129553"/>
                <a:gd name="connsiteY159" fmla="*/ 1072365 h 1353670"/>
                <a:gd name="connsiteX160" fmla="*/ 971393 w 1129553"/>
                <a:gd name="connsiteY160" fmla="*/ 1136283 h 1353670"/>
                <a:gd name="connsiteX161" fmla="*/ 928273 w 1129553"/>
                <a:gd name="connsiteY161" fmla="*/ 1181286 h 1353670"/>
                <a:gd name="connsiteX162" fmla="*/ 956781 w 1129553"/>
                <a:gd name="connsiteY162" fmla="*/ 1100514 h 1353670"/>
                <a:gd name="connsiteX163" fmla="*/ 956781 w 1129553"/>
                <a:gd name="connsiteY163" fmla="*/ 1100514 h 1353670"/>
                <a:gd name="connsiteX164" fmla="*/ 547990 w 1129553"/>
                <a:gd name="connsiteY164" fmla="*/ 1177521 h 1353670"/>
                <a:gd name="connsiteX165" fmla="*/ 547990 w 1129553"/>
                <a:gd name="connsiteY165" fmla="*/ 1177521 h 1353670"/>
                <a:gd name="connsiteX166" fmla="*/ 513207 w 1129553"/>
                <a:gd name="connsiteY166" fmla="*/ 1150447 h 1353670"/>
                <a:gd name="connsiteX167" fmla="*/ 513207 w 1129553"/>
                <a:gd name="connsiteY167" fmla="*/ 1150447 h 1353670"/>
                <a:gd name="connsiteX168" fmla="*/ 983585 w 1129553"/>
                <a:gd name="connsiteY168" fmla="*/ 1149103 h 1353670"/>
                <a:gd name="connsiteX169" fmla="*/ 983585 w 1129553"/>
                <a:gd name="connsiteY169" fmla="*/ 1149103 h 1353670"/>
                <a:gd name="connsiteX170" fmla="*/ 487747 w 1129553"/>
                <a:gd name="connsiteY170" fmla="*/ 1142738 h 1353670"/>
                <a:gd name="connsiteX171" fmla="*/ 487747 w 1129553"/>
                <a:gd name="connsiteY171" fmla="*/ 1142738 h 1353670"/>
                <a:gd name="connsiteX172" fmla="*/ 88459 w 1129553"/>
                <a:gd name="connsiteY172" fmla="*/ 1122119 h 1353670"/>
                <a:gd name="connsiteX173" fmla="*/ 118133 w 1129553"/>
                <a:gd name="connsiteY173" fmla="*/ 1076758 h 1353670"/>
                <a:gd name="connsiteX174" fmla="*/ 88459 w 1129553"/>
                <a:gd name="connsiteY174" fmla="*/ 1122119 h 1353670"/>
                <a:gd name="connsiteX175" fmla="*/ 344940 w 1129553"/>
                <a:gd name="connsiteY175" fmla="*/ 1110734 h 1353670"/>
                <a:gd name="connsiteX176" fmla="*/ 344940 w 1129553"/>
                <a:gd name="connsiteY176" fmla="*/ 1110734 h 1353670"/>
                <a:gd name="connsiteX177" fmla="*/ 742166 w 1129553"/>
                <a:gd name="connsiteY177" fmla="*/ 1086260 h 1353670"/>
                <a:gd name="connsiteX178" fmla="*/ 742166 w 1129553"/>
                <a:gd name="connsiteY178" fmla="*/ 1086260 h 1353670"/>
                <a:gd name="connsiteX179" fmla="*/ 106658 w 1129553"/>
                <a:gd name="connsiteY179" fmla="*/ 1038747 h 1353670"/>
                <a:gd name="connsiteX180" fmla="*/ 106658 w 1129553"/>
                <a:gd name="connsiteY180" fmla="*/ 1038747 h 1353670"/>
                <a:gd name="connsiteX181" fmla="*/ 407693 w 1129553"/>
                <a:gd name="connsiteY181" fmla="*/ 1029065 h 1353670"/>
                <a:gd name="connsiteX182" fmla="*/ 407693 w 1129553"/>
                <a:gd name="connsiteY182" fmla="*/ 1029065 h 1353670"/>
                <a:gd name="connsiteX183" fmla="*/ 680937 w 1129553"/>
                <a:gd name="connsiteY183" fmla="*/ 1028797 h 1353670"/>
                <a:gd name="connsiteX184" fmla="*/ 680937 w 1129553"/>
                <a:gd name="connsiteY184" fmla="*/ 1028797 h 1353670"/>
                <a:gd name="connsiteX185" fmla="*/ 80301 w 1129553"/>
                <a:gd name="connsiteY185" fmla="*/ 1004412 h 1353670"/>
                <a:gd name="connsiteX186" fmla="*/ 92942 w 1129553"/>
                <a:gd name="connsiteY186" fmla="*/ 976084 h 1353670"/>
                <a:gd name="connsiteX187" fmla="*/ 80301 w 1129553"/>
                <a:gd name="connsiteY187" fmla="*/ 1004412 h 1353670"/>
                <a:gd name="connsiteX188" fmla="*/ 1116084 w 1129553"/>
                <a:gd name="connsiteY188" fmla="*/ 907056 h 1353670"/>
                <a:gd name="connsiteX189" fmla="*/ 1116084 w 1129553"/>
                <a:gd name="connsiteY189" fmla="*/ 907056 h 1353670"/>
                <a:gd name="connsiteX190" fmla="*/ 520827 w 1129553"/>
                <a:gd name="connsiteY190" fmla="*/ 845558 h 1353670"/>
                <a:gd name="connsiteX191" fmla="*/ 528626 w 1129553"/>
                <a:gd name="connsiteY191" fmla="*/ 847261 h 1353670"/>
                <a:gd name="connsiteX192" fmla="*/ 520827 w 1129553"/>
                <a:gd name="connsiteY192" fmla="*/ 845558 h 1353670"/>
                <a:gd name="connsiteX193" fmla="*/ 589228 w 1129553"/>
                <a:gd name="connsiteY193" fmla="*/ 839641 h 1353670"/>
                <a:gd name="connsiteX194" fmla="*/ 586001 w 1129553"/>
                <a:gd name="connsiteY194" fmla="*/ 755014 h 1353670"/>
                <a:gd name="connsiteX195" fmla="*/ 620604 w 1129553"/>
                <a:gd name="connsiteY195" fmla="*/ 803334 h 1353670"/>
                <a:gd name="connsiteX196" fmla="*/ 589228 w 1129553"/>
                <a:gd name="connsiteY196" fmla="*/ 839641 h 1353670"/>
                <a:gd name="connsiteX197" fmla="*/ 731767 w 1129553"/>
                <a:gd name="connsiteY197" fmla="*/ 796252 h 1353670"/>
                <a:gd name="connsiteX198" fmla="*/ 742973 w 1129553"/>
                <a:gd name="connsiteY198" fmla="*/ 801900 h 1353670"/>
                <a:gd name="connsiteX199" fmla="*/ 731767 w 1129553"/>
                <a:gd name="connsiteY199" fmla="*/ 796252 h 1353670"/>
                <a:gd name="connsiteX200" fmla="*/ 560899 w 1129553"/>
                <a:gd name="connsiteY200" fmla="*/ 768909 h 1353670"/>
                <a:gd name="connsiteX201" fmla="*/ 560899 w 1129553"/>
                <a:gd name="connsiteY201" fmla="*/ 768909 h 1353670"/>
                <a:gd name="connsiteX202" fmla="*/ 826434 w 1129553"/>
                <a:gd name="connsiteY202" fmla="*/ 452724 h 1353670"/>
                <a:gd name="connsiteX203" fmla="*/ 841136 w 1129553"/>
                <a:gd name="connsiteY203" fmla="*/ 454159 h 1353670"/>
                <a:gd name="connsiteX204" fmla="*/ 826434 w 1129553"/>
                <a:gd name="connsiteY204" fmla="*/ 452724 h 1353670"/>
                <a:gd name="connsiteX205" fmla="*/ 700121 w 1129553"/>
                <a:gd name="connsiteY205" fmla="*/ 238109 h 1353670"/>
                <a:gd name="connsiteX206" fmla="*/ 748620 w 1129553"/>
                <a:gd name="connsiteY206" fmla="*/ 193196 h 1353670"/>
                <a:gd name="connsiteX207" fmla="*/ 700121 w 1129553"/>
                <a:gd name="connsiteY207" fmla="*/ 238109 h 135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</a:cxnLst>
              <a:rect l="l" t="t" r="r" b="b"/>
              <a:pathLst>
                <a:path w="1129553" h="1353670">
                  <a:moveTo>
                    <a:pt x="916350" y="1342382"/>
                  </a:moveTo>
                  <a:cubicBezTo>
                    <a:pt x="897883" y="1313964"/>
                    <a:pt x="912316" y="1293076"/>
                    <a:pt x="893311" y="1318356"/>
                  </a:cubicBezTo>
                  <a:cubicBezTo>
                    <a:pt x="858079" y="1288056"/>
                    <a:pt x="826255" y="1335838"/>
                    <a:pt x="799809" y="1328128"/>
                  </a:cubicBezTo>
                  <a:cubicBezTo>
                    <a:pt x="772735" y="1291731"/>
                    <a:pt x="701645" y="1291373"/>
                    <a:pt x="694563" y="1248521"/>
                  </a:cubicBezTo>
                  <a:cubicBezTo>
                    <a:pt x="745483" y="1249508"/>
                    <a:pt x="673317" y="1195988"/>
                    <a:pt x="728808" y="1181555"/>
                  </a:cubicBezTo>
                  <a:cubicBezTo>
                    <a:pt x="779997" y="1155288"/>
                    <a:pt x="806353" y="1270754"/>
                    <a:pt x="850818" y="1220731"/>
                  </a:cubicBezTo>
                  <a:cubicBezTo>
                    <a:pt x="848667" y="1188547"/>
                    <a:pt x="895193" y="1238033"/>
                    <a:pt x="867941" y="1196885"/>
                  </a:cubicBezTo>
                  <a:cubicBezTo>
                    <a:pt x="861128" y="1169632"/>
                    <a:pt x="915633" y="1186844"/>
                    <a:pt x="932666" y="1195182"/>
                  </a:cubicBezTo>
                  <a:cubicBezTo>
                    <a:pt x="953643" y="1220103"/>
                    <a:pt x="978744" y="1196257"/>
                    <a:pt x="941541" y="1198229"/>
                  </a:cubicBezTo>
                  <a:cubicBezTo>
                    <a:pt x="942258" y="1173308"/>
                    <a:pt x="971842" y="1207104"/>
                    <a:pt x="969242" y="1177879"/>
                  </a:cubicBezTo>
                  <a:cubicBezTo>
                    <a:pt x="999722" y="1173038"/>
                    <a:pt x="998018" y="1160577"/>
                    <a:pt x="1005997" y="1140228"/>
                  </a:cubicBezTo>
                  <a:cubicBezTo>
                    <a:pt x="1027512" y="1146862"/>
                    <a:pt x="1103444" y="1169542"/>
                    <a:pt x="1056289" y="1191685"/>
                  </a:cubicBezTo>
                  <a:cubicBezTo>
                    <a:pt x="1019534" y="1165956"/>
                    <a:pt x="985737" y="1226916"/>
                    <a:pt x="970766" y="1216159"/>
                  </a:cubicBezTo>
                  <a:cubicBezTo>
                    <a:pt x="977848" y="1258741"/>
                    <a:pt x="908102" y="1296303"/>
                    <a:pt x="932576" y="1349105"/>
                  </a:cubicBezTo>
                  <a:cubicBezTo>
                    <a:pt x="926480" y="1350361"/>
                    <a:pt x="920384" y="1346595"/>
                    <a:pt x="916350" y="1342382"/>
                  </a:cubicBezTo>
                  <a:close/>
                  <a:moveTo>
                    <a:pt x="910702" y="1287518"/>
                  </a:moveTo>
                  <a:cubicBezTo>
                    <a:pt x="902186" y="1254618"/>
                    <a:pt x="890621" y="1317191"/>
                    <a:pt x="910702" y="1287518"/>
                  </a:cubicBezTo>
                  <a:close/>
                  <a:moveTo>
                    <a:pt x="897076" y="1253183"/>
                  </a:moveTo>
                  <a:cubicBezTo>
                    <a:pt x="889277" y="1247087"/>
                    <a:pt x="904517" y="1266720"/>
                    <a:pt x="897076" y="1253183"/>
                  </a:cubicBezTo>
                  <a:close/>
                  <a:moveTo>
                    <a:pt x="892325" y="1241977"/>
                  </a:moveTo>
                  <a:cubicBezTo>
                    <a:pt x="870809" y="1197781"/>
                    <a:pt x="889815" y="1261699"/>
                    <a:pt x="892325" y="1241977"/>
                  </a:cubicBezTo>
                  <a:close/>
                  <a:moveTo>
                    <a:pt x="613522" y="1277119"/>
                  </a:moveTo>
                  <a:cubicBezTo>
                    <a:pt x="600972" y="1249597"/>
                    <a:pt x="601778" y="1224944"/>
                    <a:pt x="621949" y="1208718"/>
                  </a:cubicBezTo>
                  <a:cubicBezTo>
                    <a:pt x="616929" y="1168377"/>
                    <a:pt x="663187" y="1144172"/>
                    <a:pt x="674482" y="1105803"/>
                  </a:cubicBezTo>
                  <a:cubicBezTo>
                    <a:pt x="697253" y="1156812"/>
                    <a:pt x="632258" y="1211945"/>
                    <a:pt x="629479" y="1268333"/>
                  </a:cubicBezTo>
                  <a:cubicBezTo>
                    <a:pt x="629569" y="1274071"/>
                    <a:pt x="617556" y="1288414"/>
                    <a:pt x="613522" y="1277119"/>
                  </a:cubicBezTo>
                  <a:close/>
                  <a:moveTo>
                    <a:pt x="316880" y="1237584"/>
                  </a:moveTo>
                  <a:cubicBezTo>
                    <a:pt x="297068" y="1232206"/>
                    <a:pt x="264168" y="1244846"/>
                    <a:pt x="254486" y="1214366"/>
                  </a:cubicBezTo>
                  <a:cubicBezTo>
                    <a:pt x="215131" y="1198767"/>
                    <a:pt x="165914" y="1198498"/>
                    <a:pt x="132207" y="1191954"/>
                  </a:cubicBezTo>
                  <a:cubicBezTo>
                    <a:pt x="119029" y="1138793"/>
                    <a:pt x="147447" y="1089308"/>
                    <a:pt x="130593" y="1037313"/>
                  </a:cubicBezTo>
                  <a:cubicBezTo>
                    <a:pt x="153453" y="968195"/>
                    <a:pt x="80660" y="957885"/>
                    <a:pt x="54573" y="912434"/>
                  </a:cubicBezTo>
                  <a:cubicBezTo>
                    <a:pt x="27410" y="888499"/>
                    <a:pt x="87832" y="987828"/>
                    <a:pt x="42291" y="941301"/>
                  </a:cubicBezTo>
                  <a:cubicBezTo>
                    <a:pt x="-39288" y="914675"/>
                    <a:pt x="51973" y="843137"/>
                    <a:pt x="26872" y="784777"/>
                  </a:cubicBezTo>
                  <a:cubicBezTo>
                    <a:pt x="20686" y="757166"/>
                    <a:pt x="29472" y="716556"/>
                    <a:pt x="36733" y="769806"/>
                  </a:cubicBezTo>
                  <a:cubicBezTo>
                    <a:pt x="20238" y="825208"/>
                    <a:pt x="100651" y="774467"/>
                    <a:pt x="70082" y="751070"/>
                  </a:cubicBezTo>
                  <a:cubicBezTo>
                    <a:pt x="78688" y="725789"/>
                    <a:pt x="21672" y="651203"/>
                    <a:pt x="31444" y="717900"/>
                  </a:cubicBezTo>
                  <a:cubicBezTo>
                    <a:pt x="4819" y="763710"/>
                    <a:pt x="19252" y="665098"/>
                    <a:pt x="21403" y="646362"/>
                  </a:cubicBezTo>
                  <a:cubicBezTo>
                    <a:pt x="25079" y="611220"/>
                    <a:pt x="20597" y="543716"/>
                    <a:pt x="62820" y="597594"/>
                  </a:cubicBezTo>
                  <a:cubicBezTo>
                    <a:pt x="79584" y="578141"/>
                    <a:pt x="11363" y="569176"/>
                    <a:pt x="27320" y="542550"/>
                  </a:cubicBezTo>
                  <a:cubicBezTo>
                    <a:pt x="23196" y="514491"/>
                    <a:pt x="32878" y="425651"/>
                    <a:pt x="59683" y="436677"/>
                  </a:cubicBezTo>
                  <a:cubicBezTo>
                    <a:pt x="47849" y="489480"/>
                    <a:pt x="90432" y="478363"/>
                    <a:pt x="122705" y="493245"/>
                  </a:cubicBezTo>
                  <a:cubicBezTo>
                    <a:pt x="132297" y="462855"/>
                    <a:pt x="74026" y="434347"/>
                    <a:pt x="72144" y="410680"/>
                  </a:cubicBezTo>
                  <a:cubicBezTo>
                    <a:pt x="60221" y="455682"/>
                    <a:pt x="51973" y="360029"/>
                    <a:pt x="79584" y="349271"/>
                  </a:cubicBezTo>
                  <a:cubicBezTo>
                    <a:pt x="109706" y="302476"/>
                    <a:pt x="142606" y="242054"/>
                    <a:pt x="203835" y="259894"/>
                  </a:cubicBezTo>
                  <a:cubicBezTo>
                    <a:pt x="256458" y="226993"/>
                    <a:pt x="330417" y="276120"/>
                    <a:pt x="370937" y="211663"/>
                  </a:cubicBezTo>
                  <a:cubicBezTo>
                    <a:pt x="408679" y="165944"/>
                    <a:pt x="425981" y="106597"/>
                    <a:pt x="469549" y="65091"/>
                  </a:cubicBezTo>
                  <a:cubicBezTo>
                    <a:pt x="534274" y="91178"/>
                    <a:pt x="568071" y="3862"/>
                    <a:pt x="622666" y="7716"/>
                  </a:cubicBezTo>
                  <a:cubicBezTo>
                    <a:pt x="606978" y="30666"/>
                    <a:pt x="547094" y="84723"/>
                    <a:pt x="600165" y="116817"/>
                  </a:cubicBezTo>
                  <a:cubicBezTo>
                    <a:pt x="597027" y="172756"/>
                    <a:pt x="612805" y="232372"/>
                    <a:pt x="569326" y="277643"/>
                  </a:cubicBezTo>
                  <a:cubicBezTo>
                    <a:pt x="537950" y="330087"/>
                    <a:pt x="527730" y="389972"/>
                    <a:pt x="547811" y="449138"/>
                  </a:cubicBezTo>
                  <a:cubicBezTo>
                    <a:pt x="528358" y="434257"/>
                    <a:pt x="492499" y="447256"/>
                    <a:pt x="539026" y="455682"/>
                  </a:cubicBezTo>
                  <a:cubicBezTo>
                    <a:pt x="581070" y="471192"/>
                    <a:pt x="517331" y="489211"/>
                    <a:pt x="560093" y="510995"/>
                  </a:cubicBezTo>
                  <a:cubicBezTo>
                    <a:pt x="601868" y="544165"/>
                    <a:pt x="672600" y="482218"/>
                    <a:pt x="693398" y="555549"/>
                  </a:cubicBezTo>
                  <a:cubicBezTo>
                    <a:pt x="684612" y="604766"/>
                    <a:pt x="643823" y="649858"/>
                    <a:pt x="627238" y="684193"/>
                  </a:cubicBezTo>
                  <a:cubicBezTo>
                    <a:pt x="619708" y="656850"/>
                    <a:pt x="610743" y="639549"/>
                    <a:pt x="593800" y="671912"/>
                  </a:cubicBezTo>
                  <a:cubicBezTo>
                    <a:pt x="608323" y="715749"/>
                    <a:pt x="572105" y="694502"/>
                    <a:pt x="574974" y="669401"/>
                  </a:cubicBezTo>
                  <a:cubicBezTo>
                    <a:pt x="548887" y="698895"/>
                    <a:pt x="535350" y="640176"/>
                    <a:pt x="569864" y="640087"/>
                  </a:cubicBezTo>
                  <a:cubicBezTo>
                    <a:pt x="569237" y="590781"/>
                    <a:pt x="501912" y="687689"/>
                    <a:pt x="531316" y="718528"/>
                  </a:cubicBezTo>
                  <a:cubicBezTo>
                    <a:pt x="530061" y="743898"/>
                    <a:pt x="521993" y="828435"/>
                    <a:pt x="497250" y="805665"/>
                  </a:cubicBezTo>
                  <a:cubicBezTo>
                    <a:pt x="481114" y="759676"/>
                    <a:pt x="424457" y="829242"/>
                    <a:pt x="478603" y="809788"/>
                  </a:cubicBezTo>
                  <a:cubicBezTo>
                    <a:pt x="453861" y="778143"/>
                    <a:pt x="508097" y="805396"/>
                    <a:pt x="475376" y="827539"/>
                  </a:cubicBezTo>
                  <a:cubicBezTo>
                    <a:pt x="488554" y="875948"/>
                    <a:pt x="405183" y="889844"/>
                    <a:pt x="384653" y="863577"/>
                  </a:cubicBezTo>
                  <a:cubicBezTo>
                    <a:pt x="330775" y="845289"/>
                    <a:pt x="433242" y="902035"/>
                    <a:pt x="424905" y="900870"/>
                  </a:cubicBezTo>
                  <a:cubicBezTo>
                    <a:pt x="422126" y="940853"/>
                    <a:pt x="310963" y="943452"/>
                    <a:pt x="378737" y="957348"/>
                  </a:cubicBezTo>
                  <a:cubicBezTo>
                    <a:pt x="354353" y="990607"/>
                    <a:pt x="365648" y="1050401"/>
                    <a:pt x="402045" y="1053360"/>
                  </a:cubicBezTo>
                  <a:cubicBezTo>
                    <a:pt x="379454" y="1069317"/>
                    <a:pt x="365917" y="1090384"/>
                    <a:pt x="338485" y="1097645"/>
                  </a:cubicBezTo>
                  <a:cubicBezTo>
                    <a:pt x="361076" y="1115216"/>
                    <a:pt x="315267" y="1149820"/>
                    <a:pt x="342161" y="1143097"/>
                  </a:cubicBezTo>
                  <a:cubicBezTo>
                    <a:pt x="372551" y="1146682"/>
                    <a:pt x="377571" y="1158785"/>
                    <a:pt x="369682" y="1132607"/>
                  </a:cubicBezTo>
                  <a:cubicBezTo>
                    <a:pt x="406169" y="1105176"/>
                    <a:pt x="439876" y="1158964"/>
                    <a:pt x="467487" y="1174831"/>
                  </a:cubicBezTo>
                  <a:cubicBezTo>
                    <a:pt x="487658" y="1212394"/>
                    <a:pt x="433780" y="1236777"/>
                    <a:pt x="403569" y="1206387"/>
                  </a:cubicBezTo>
                  <a:cubicBezTo>
                    <a:pt x="385639" y="1208807"/>
                    <a:pt x="398728" y="1255782"/>
                    <a:pt x="362152" y="1226827"/>
                  </a:cubicBezTo>
                  <a:cubicBezTo>
                    <a:pt x="346822" y="1216248"/>
                    <a:pt x="320825" y="1254259"/>
                    <a:pt x="316880" y="1237584"/>
                  </a:cubicBezTo>
                  <a:close/>
                  <a:moveTo>
                    <a:pt x="401148" y="1168108"/>
                  </a:moveTo>
                  <a:cubicBezTo>
                    <a:pt x="386267" y="1142559"/>
                    <a:pt x="369772" y="1169184"/>
                    <a:pt x="401148" y="1168108"/>
                  </a:cubicBezTo>
                  <a:close/>
                  <a:moveTo>
                    <a:pt x="165108" y="521125"/>
                  </a:moveTo>
                  <a:cubicBezTo>
                    <a:pt x="190029" y="499879"/>
                    <a:pt x="142427" y="464289"/>
                    <a:pt x="189043" y="445373"/>
                  </a:cubicBezTo>
                  <a:cubicBezTo>
                    <a:pt x="204014" y="431478"/>
                    <a:pt x="230998" y="442863"/>
                    <a:pt x="199174" y="429147"/>
                  </a:cubicBezTo>
                  <a:cubicBezTo>
                    <a:pt x="219792" y="407811"/>
                    <a:pt x="236825" y="363346"/>
                    <a:pt x="254755" y="384144"/>
                  </a:cubicBezTo>
                  <a:cubicBezTo>
                    <a:pt x="217103" y="402163"/>
                    <a:pt x="301102" y="391765"/>
                    <a:pt x="273670" y="436229"/>
                  </a:cubicBezTo>
                  <a:cubicBezTo>
                    <a:pt x="256279" y="453262"/>
                    <a:pt x="249555" y="519512"/>
                    <a:pt x="270443" y="470923"/>
                  </a:cubicBezTo>
                  <a:cubicBezTo>
                    <a:pt x="276270" y="461868"/>
                    <a:pt x="333465" y="483473"/>
                    <a:pt x="301102" y="441519"/>
                  </a:cubicBezTo>
                  <a:cubicBezTo>
                    <a:pt x="261389" y="459269"/>
                    <a:pt x="306391" y="408977"/>
                    <a:pt x="278601" y="392840"/>
                  </a:cubicBezTo>
                  <a:cubicBezTo>
                    <a:pt x="269278" y="337707"/>
                    <a:pt x="329969" y="282753"/>
                    <a:pt x="379633" y="322109"/>
                  </a:cubicBezTo>
                  <a:cubicBezTo>
                    <a:pt x="361166" y="353843"/>
                    <a:pt x="415671" y="270024"/>
                    <a:pt x="443731" y="293870"/>
                  </a:cubicBezTo>
                  <a:cubicBezTo>
                    <a:pt x="443193" y="286608"/>
                    <a:pt x="422843" y="301131"/>
                    <a:pt x="431449" y="279885"/>
                  </a:cubicBezTo>
                  <a:cubicBezTo>
                    <a:pt x="392184" y="306151"/>
                    <a:pt x="336602" y="288581"/>
                    <a:pt x="294379" y="320764"/>
                  </a:cubicBezTo>
                  <a:cubicBezTo>
                    <a:pt x="265064" y="273161"/>
                    <a:pt x="204463" y="330177"/>
                    <a:pt x="174341" y="332597"/>
                  </a:cubicBezTo>
                  <a:cubicBezTo>
                    <a:pt x="139917" y="380469"/>
                    <a:pt x="212262" y="335286"/>
                    <a:pt x="226516" y="322646"/>
                  </a:cubicBezTo>
                  <a:cubicBezTo>
                    <a:pt x="229833" y="356174"/>
                    <a:pt x="204283" y="373476"/>
                    <a:pt x="215041" y="400908"/>
                  </a:cubicBezTo>
                  <a:cubicBezTo>
                    <a:pt x="198187" y="426906"/>
                    <a:pt x="169859" y="464916"/>
                    <a:pt x="146192" y="433540"/>
                  </a:cubicBezTo>
                  <a:cubicBezTo>
                    <a:pt x="128083" y="437305"/>
                    <a:pt x="157846" y="408977"/>
                    <a:pt x="128711" y="412831"/>
                  </a:cubicBezTo>
                  <a:cubicBezTo>
                    <a:pt x="143234" y="447794"/>
                    <a:pt x="59593" y="446180"/>
                    <a:pt x="124408" y="443401"/>
                  </a:cubicBezTo>
                  <a:cubicBezTo>
                    <a:pt x="146730" y="437305"/>
                    <a:pt x="157398" y="468592"/>
                    <a:pt x="144668" y="460434"/>
                  </a:cubicBezTo>
                  <a:cubicBezTo>
                    <a:pt x="143144" y="486790"/>
                    <a:pt x="124318" y="482218"/>
                    <a:pt x="144399" y="509023"/>
                  </a:cubicBezTo>
                  <a:cubicBezTo>
                    <a:pt x="142606" y="520228"/>
                    <a:pt x="157308" y="528297"/>
                    <a:pt x="165108" y="521125"/>
                  </a:cubicBezTo>
                  <a:close/>
                  <a:moveTo>
                    <a:pt x="150316" y="506692"/>
                  </a:moveTo>
                  <a:cubicBezTo>
                    <a:pt x="141620" y="464378"/>
                    <a:pt x="179362" y="491003"/>
                    <a:pt x="150316" y="506692"/>
                  </a:cubicBezTo>
                  <a:close/>
                  <a:moveTo>
                    <a:pt x="259147" y="361464"/>
                  </a:moveTo>
                  <a:cubicBezTo>
                    <a:pt x="255472" y="335286"/>
                    <a:pt x="283083" y="372670"/>
                    <a:pt x="259147" y="361464"/>
                  </a:cubicBezTo>
                  <a:close/>
                  <a:moveTo>
                    <a:pt x="318494" y="505437"/>
                  </a:moveTo>
                  <a:cubicBezTo>
                    <a:pt x="333375" y="495934"/>
                    <a:pt x="283531" y="515208"/>
                    <a:pt x="303523" y="484729"/>
                  </a:cubicBezTo>
                  <a:cubicBezTo>
                    <a:pt x="287117" y="492886"/>
                    <a:pt x="303433" y="517181"/>
                    <a:pt x="318494" y="505437"/>
                  </a:cubicBezTo>
                  <a:close/>
                  <a:moveTo>
                    <a:pt x="134897" y="402881"/>
                  </a:moveTo>
                  <a:cubicBezTo>
                    <a:pt x="162239" y="390240"/>
                    <a:pt x="151840" y="383248"/>
                    <a:pt x="159549" y="352768"/>
                  </a:cubicBezTo>
                  <a:cubicBezTo>
                    <a:pt x="156860" y="362450"/>
                    <a:pt x="101996" y="419286"/>
                    <a:pt x="134897" y="402881"/>
                  </a:cubicBezTo>
                  <a:close/>
                  <a:moveTo>
                    <a:pt x="538577" y="1227544"/>
                  </a:moveTo>
                  <a:cubicBezTo>
                    <a:pt x="512669" y="1215710"/>
                    <a:pt x="480396" y="1144710"/>
                    <a:pt x="528895" y="1187561"/>
                  </a:cubicBezTo>
                  <a:cubicBezTo>
                    <a:pt x="546825" y="1203698"/>
                    <a:pt x="553459" y="1197153"/>
                    <a:pt x="567175" y="1209794"/>
                  </a:cubicBezTo>
                  <a:cubicBezTo>
                    <a:pt x="605544" y="1210332"/>
                    <a:pt x="545570" y="1262148"/>
                    <a:pt x="538577" y="1227544"/>
                  </a:cubicBezTo>
                  <a:close/>
                  <a:moveTo>
                    <a:pt x="814511" y="1214455"/>
                  </a:moveTo>
                  <a:cubicBezTo>
                    <a:pt x="802319" y="1199215"/>
                    <a:pt x="839254" y="1207911"/>
                    <a:pt x="814511" y="1214455"/>
                  </a:cubicBezTo>
                  <a:close/>
                  <a:moveTo>
                    <a:pt x="598013" y="1207463"/>
                  </a:moveTo>
                  <a:cubicBezTo>
                    <a:pt x="592186" y="1166853"/>
                    <a:pt x="620873" y="1224855"/>
                    <a:pt x="598013" y="1207463"/>
                  </a:cubicBezTo>
                  <a:close/>
                  <a:moveTo>
                    <a:pt x="787707" y="1192851"/>
                  </a:moveTo>
                  <a:cubicBezTo>
                    <a:pt x="777935" y="1160936"/>
                    <a:pt x="833785" y="1188279"/>
                    <a:pt x="787707" y="1192851"/>
                  </a:cubicBezTo>
                  <a:close/>
                  <a:moveTo>
                    <a:pt x="583491" y="1177252"/>
                  </a:moveTo>
                  <a:cubicBezTo>
                    <a:pt x="563051" y="1150806"/>
                    <a:pt x="638086" y="1133952"/>
                    <a:pt x="583580" y="1152240"/>
                  </a:cubicBezTo>
                  <a:cubicBezTo>
                    <a:pt x="551755" y="1147848"/>
                    <a:pt x="510518" y="1125077"/>
                    <a:pt x="499222" y="1135387"/>
                  </a:cubicBezTo>
                  <a:cubicBezTo>
                    <a:pt x="466949" y="1130098"/>
                    <a:pt x="475914" y="1114499"/>
                    <a:pt x="490347" y="1102307"/>
                  </a:cubicBezTo>
                  <a:cubicBezTo>
                    <a:pt x="471701" y="1074785"/>
                    <a:pt x="454219" y="1084288"/>
                    <a:pt x="462019" y="1110555"/>
                  </a:cubicBezTo>
                  <a:cubicBezTo>
                    <a:pt x="439338" y="1090473"/>
                    <a:pt x="449289" y="1069048"/>
                    <a:pt x="430373" y="1046277"/>
                  </a:cubicBezTo>
                  <a:cubicBezTo>
                    <a:pt x="439338" y="1013646"/>
                    <a:pt x="396487" y="1006205"/>
                    <a:pt x="410561" y="982449"/>
                  </a:cubicBezTo>
                  <a:cubicBezTo>
                    <a:pt x="354801" y="967388"/>
                    <a:pt x="407872" y="901318"/>
                    <a:pt x="439607" y="941659"/>
                  </a:cubicBezTo>
                  <a:cubicBezTo>
                    <a:pt x="484699" y="924268"/>
                    <a:pt x="533736" y="871466"/>
                    <a:pt x="566726" y="922923"/>
                  </a:cubicBezTo>
                  <a:cubicBezTo>
                    <a:pt x="617556" y="922744"/>
                    <a:pt x="544584" y="989620"/>
                    <a:pt x="577574" y="966492"/>
                  </a:cubicBezTo>
                  <a:cubicBezTo>
                    <a:pt x="617467" y="960575"/>
                    <a:pt x="592097" y="949010"/>
                    <a:pt x="596758" y="942018"/>
                  </a:cubicBezTo>
                  <a:cubicBezTo>
                    <a:pt x="609219" y="929647"/>
                    <a:pt x="603123" y="877472"/>
                    <a:pt x="623832" y="927585"/>
                  </a:cubicBezTo>
                  <a:cubicBezTo>
                    <a:pt x="644988" y="951341"/>
                    <a:pt x="633693" y="962906"/>
                    <a:pt x="626073" y="976263"/>
                  </a:cubicBezTo>
                  <a:cubicBezTo>
                    <a:pt x="660228" y="1016514"/>
                    <a:pt x="659242" y="1038030"/>
                    <a:pt x="651443" y="1082136"/>
                  </a:cubicBezTo>
                  <a:cubicBezTo>
                    <a:pt x="655567" y="1111989"/>
                    <a:pt x="627597" y="1166405"/>
                    <a:pt x="611550" y="1144889"/>
                  </a:cubicBezTo>
                  <a:cubicBezTo>
                    <a:pt x="630376" y="1165419"/>
                    <a:pt x="610295" y="1208629"/>
                    <a:pt x="583491" y="1177252"/>
                  </a:cubicBezTo>
                  <a:close/>
                  <a:moveTo>
                    <a:pt x="820159" y="1182989"/>
                  </a:moveTo>
                  <a:cubicBezTo>
                    <a:pt x="814332" y="1147937"/>
                    <a:pt x="861665" y="1194823"/>
                    <a:pt x="820159" y="1182989"/>
                  </a:cubicBezTo>
                  <a:close/>
                  <a:moveTo>
                    <a:pt x="928273" y="1181286"/>
                  </a:moveTo>
                  <a:cubicBezTo>
                    <a:pt x="915633" y="1173935"/>
                    <a:pt x="843557" y="1140766"/>
                    <a:pt x="864355" y="1133594"/>
                  </a:cubicBezTo>
                  <a:cubicBezTo>
                    <a:pt x="910433" y="1148744"/>
                    <a:pt x="877802" y="1138703"/>
                    <a:pt x="870989" y="1113692"/>
                  </a:cubicBezTo>
                  <a:cubicBezTo>
                    <a:pt x="906489" y="1108762"/>
                    <a:pt x="855659" y="1101679"/>
                    <a:pt x="862651" y="1088322"/>
                  </a:cubicBezTo>
                  <a:cubicBezTo>
                    <a:pt x="834950" y="1090384"/>
                    <a:pt x="787617" y="1078551"/>
                    <a:pt x="758661" y="1078551"/>
                  </a:cubicBezTo>
                  <a:cubicBezTo>
                    <a:pt x="755702" y="1063938"/>
                    <a:pt x="748979" y="1021535"/>
                    <a:pt x="731498" y="1023507"/>
                  </a:cubicBezTo>
                  <a:cubicBezTo>
                    <a:pt x="706217" y="1015528"/>
                    <a:pt x="776501" y="972856"/>
                    <a:pt x="725850" y="951700"/>
                  </a:cubicBezTo>
                  <a:cubicBezTo>
                    <a:pt x="708907" y="938791"/>
                    <a:pt x="759020" y="915213"/>
                    <a:pt x="716437" y="899615"/>
                  </a:cubicBezTo>
                  <a:cubicBezTo>
                    <a:pt x="695280" y="893519"/>
                    <a:pt x="668655" y="882134"/>
                    <a:pt x="705142" y="878100"/>
                  </a:cubicBezTo>
                  <a:cubicBezTo>
                    <a:pt x="692232" y="860081"/>
                    <a:pt x="643285" y="848875"/>
                    <a:pt x="694653" y="847620"/>
                  </a:cubicBezTo>
                  <a:cubicBezTo>
                    <a:pt x="717065" y="852998"/>
                    <a:pt x="748979" y="838924"/>
                    <a:pt x="740104" y="857840"/>
                  </a:cubicBezTo>
                  <a:cubicBezTo>
                    <a:pt x="773453" y="859453"/>
                    <a:pt x="789141" y="823953"/>
                    <a:pt x="790934" y="811851"/>
                  </a:cubicBezTo>
                  <a:cubicBezTo>
                    <a:pt x="852880" y="799659"/>
                    <a:pt x="799450" y="753670"/>
                    <a:pt x="764667" y="748560"/>
                  </a:cubicBezTo>
                  <a:cubicBezTo>
                    <a:pt x="791113" y="744436"/>
                    <a:pt x="861128" y="765234"/>
                    <a:pt x="889187" y="758959"/>
                  </a:cubicBezTo>
                  <a:cubicBezTo>
                    <a:pt x="877623" y="775274"/>
                    <a:pt x="889008" y="811492"/>
                    <a:pt x="859514" y="786301"/>
                  </a:cubicBezTo>
                  <a:cubicBezTo>
                    <a:pt x="877981" y="810237"/>
                    <a:pt x="885691" y="834621"/>
                    <a:pt x="853059" y="825925"/>
                  </a:cubicBezTo>
                  <a:cubicBezTo>
                    <a:pt x="854583" y="835696"/>
                    <a:pt x="893669" y="833276"/>
                    <a:pt x="890352" y="859812"/>
                  </a:cubicBezTo>
                  <a:cubicBezTo>
                    <a:pt x="907565" y="890381"/>
                    <a:pt x="890263" y="809072"/>
                    <a:pt x="924329" y="810775"/>
                  </a:cubicBezTo>
                  <a:cubicBezTo>
                    <a:pt x="892952" y="771688"/>
                    <a:pt x="946920" y="756538"/>
                    <a:pt x="943513" y="804948"/>
                  </a:cubicBezTo>
                  <a:cubicBezTo>
                    <a:pt x="964311" y="826194"/>
                    <a:pt x="950775" y="865370"/>
                    <a:pt x="939300" y="869583"/>
                  </a:cubicBezTo>
                  <a:cubicBezTo>
                    <a:pt x="973007" y="860708"/>
                    <a:pt x="953733" y="774019"/>
                    <a:pt x="929259" y="764786"/>
                  </a:cubicBezTo>
                  <a:cubicBezTo>
                    <a:pt x="863996" y="770792"/>
                    <a:pt x="960546" y="709832"/>
                    <a:pt x="981434" y="695130"/>
                  </a:cubicBezTo>
                  <a:cubicBezTo>
                    <a:pt x="1011017" y="678276"/>
                    <a:pt x="1095734" y="702481"/>
                    <a:pt x="1079149" y="745422"/>
                  </a:cubicBezTo>
                  <a:cubicBezTo>
                    <a:pt x="1047773" y="775992"/>
                    <a:pt x="1087217" y="833276"/>
                    <a:pt x="1091969" y="877024"/>
                  </a:cubicBezTo>
                  <a:cubicBezTo>
                    <a:pt x="1128186" y="914497"/>
                    <a:pt x="1062295" y="956810"/>
                    <a:pt x="1060682" y="899615"/>
                  </a:cubicBezTo>
                  <a:cubicBezTo>
                    <a:pt x="1028409" y="906876"/>
                    <a:pt x="947726" y="959678"/>
                    <a:pt x="1011017" y="990159"/>
                  </a:cubicBezTo>
                  <a:cubicBezTo>
                    <a:pt x="1072067" y="1002529"/>
                    <a:pt x="1047593" y="1089667"/>
                    <a:pt x="983496" y="1072365"/>
                  </a:cubicBezTo>
                  <a:cubicBezTo>
                    <a:pt x="933742" y="1093791"/>
                    <a:pt x="1000349" y="1115665"/>
                    <a:pt x="971393" y="1136283"/>
                  </a:cubicBezTo>
                  <a:cubicBezTo>
                    <a:pt x="998556" y="1170618"/>
                    <a:pt x="953374" y="1184244"/>
                    <a:pt x="928273" y="1181286"/>
                  </a:cubicBezTo>
                  <a:close/>
                  <a:moveTo>
                    <a:pt x="956781" y="1100514"/>
                  </a:moveTo>
                  <a:cubicBezTo>
                    <a:pt x="939927" y="1084198"/>
                    <a:pt x="959650" y="1122477"/>
                    <a:pt x="956781" y="1100514"/>
                  </a:cubicBezTo>
                  <a:close/>
                  <a:moveTo>
                    <a:pt x="547990" y="1177521"/>
                  </a:moveTo>
                  <a:cubicBezTo>
                    <a:pt x="516703" y="1150537"/>
                    <a:pt x="592007" y="1172411"/>
                    <a:pt x="547990" y="1177521"/>
                  </a:cubicBezTo>
                  <a:close/>
                  <a:moveTo>
                    <a:pt x="513207" y="1150447"/>
                  </a:moveTo>
                  <a:cubicBezTo>
                    <a:pt x="502898" y="1121850"/>
                    <a:pt x="537322" y="1162281"/>
                    <a:pt x="513207" y="1150447"/>
                  </a:cubicBezTo>
                  <a:close/>
                  <a:moveTo>
                    <a:pt x="983585" y="1149103"/>
                  </a:moveTo>
                  <a:cubicBezTo>
                    <a:pt x="976055" y="1124898"/>
                    <a:pt x="1010838" y="1146324"/>
                    <a:pt x="983585" y="1149103"/>
                  </a:cubicBezTo>
                  <a:close/>
                  <a:moveTo>
                    <a:pt x="487747" y="1142738"/>
                  </a:moveTo>
                  <a:cubicBezTo>
                    <a:pt x="484879" y="1114588"/>
                    <a:pt x="510966" y="1160219"/>
                    <a:pt x="487747" y="1142738"/>
                  </a:cubicBezTo>
                  <a:close/>
                  <a:moveTo>
                    <a:pt x="88459" y="1122119"/>
                  </a:moveTo>
                  <a:cubicBezTo>
                    <a:pt x="66406" y="1110823"/>
                    <a:pt x="100382" y="1030858"/>
                    <a:pt x="118133" y="1076758"/>
                  </a:cubicBezTo>
                  <a:cubicBezTo>
                    <a:pt x="104327" y="1090115"/>
                    <a:pt x="120015" y="1129291"/>
                    <a:pt x="88459" y="1122119"/>
                  </a:cubicBezTo>
                  <a:close/>
                  <a:moveTo>
                    <a:pt x="344940" y="1110734"/>
                  </a:moveTo>
                  <a:cubicBezTo>
                    <a:pt x="354711" y="1082495"/>
                    <a:pt x="349153" y="1131532"/>
                    <a:pt x="344940" y="1110734"/>
                  </a:cubicBezTo>
                  <a:close/>
                  <a:moveTo>
                    <a:pt x="742166" y="1086260"/>
                  </a:moveTo>
                  <a:cubicBezTo>
                    <a:pt x="714555" y="1047802"/>
                    <a:pt x="766281" y="1078551"/>
                    <a:pt x="742166" y="1086260"/>
                  </a:cubicBezTo>
                  <a:close/>
                  <a:moveTo>
                    <a:pt x="106658" y="1038747"/>
                  </a:moveTo>
                  <a:cubicBezTo>
                    <a:pt x="87294" y="1014722"/>
                    <a:pt x="141889" y="1033996"/>
                    <a:pt x="106658" y="1038747"/>
                  </a:cubicBezTo>
                  <a:close/>
                  <a:moveTo>
                    <a:pt x="407693" y="1029065"/>
                  </a:moveTo>
                  <a:cubicBezTo>
                    <a:pt x="420781" y="996434"/>
                    <a:pt x="420871" y="1057573"/>
                    <a:pt x="407693" y="1029065"/>
                  </a:cubicBezTo>
                  <a:close/>
                  <a:moveTo>
                    <a:pt x="680937" y="1028797"/>
                  </a:moveTo>
                  <a:cubicBezTo>
                    <a:pt x="694832" y="994551"/>
                    <a:pt x="699673" y="1036775"/>
                    <a:pt x="680937" y="1028797"/>
                  </a:cubicBezTo>
                  <a:close/>
                  <a:moveTo>
                    <a:pt x="80301" y="1004412"/>
                  </a:moveTo>
                  <a:cubicBezTo>
                    <a:pt x="56366" y="981194"/>
                    <a:pt x="73578" y="928840"/>
                    <a:pt x="92942" y="976084"/>
                  </a:cubicBezTo>
                  <a:cubicBezTo>
                    <a:pt x="91328" y="983524"/>
                    <a:pt x="98052" y="1019563"/>
                    <a:pt x="80301" y="1004412"/>
                  </a:cubicBezTo>
                  <a:close/>
                  <a:moveTo>
                    <a:pt x="1116084" y="907056"/>
                  </a:moveTo>
                  <a:cubicBezTo>
                    <a:pt x="1085245" y="852460"/>
                    <a:pt x="1147908" y="888499"/>
                    <a:pt x="1116084" y="907056"/>
                  </a:cubicBezTo>
                  <a:close/>
                  <a:moveTo>
                    <a:pt x="520827" y="845558"/>
                  </a:moveTo>
                  <a:cubicBezTo>
                    <a:pt x="518586" y="827987"/>
                    <a:pt x="563678" y="829690"/>
                    <a:pt x="528626" y="847261"/>
                  </a:cubicBezTo>
                  <a:lnTo>
                    <a:pt x="520827" y="845558"/>
                  </a:lnTo>
                  <a:close/>
                  <a:moveTo>
                    <a:pt x="589228" y="839641"/>
                  </a:moveTo>
                  <a:cubicBezTo>
                    <a:pt x="573450" y="807368"/>
                    <a:pt x="608592" y="781818"/>
                    <a:pt x="586001" y="755014"/>
                  </a:cubicBezTo>
                  <a:cubicBezTo>
                    <a:pt x="589945" y="704722"/>
                    <a:pt x="625087" y="806293"/>
                    <a:pt x="620604" y="803334"/>
                  </a:cubicBezTo>
                  <a:cubicBezTo>
                    <a:pt x="611640" y="818395"/>
                    <a:pt x="618811" y="854612"/>
                    <a:pt x="589228" y="839641"/>
                  </a:cubicBezTo>
                  <a:close/>
                  <a:moveTo>
                    <a:pt x="731767" y="796252"/>
                  </a:moveTo>
                  <a:cubicBezTo>
                    <a:pt x="693936" y="766310"/>
                    <a:pt x="756509" y="780832"/>
                    <a:pt x="742973" y="801900"/>
                  </a:cubicBezTo>
                  <a:lnTo>
                    <a:pt x="731767" y="796252"/>
                  </a:lnTo>
                  <a:close/>
                  <a:moveTo>
                    <a:pt x="560899" y="768909"/>
                  </a:moveTo>
                  <a:cubicBezTo>
                    <a:pt x="548259" y="732961"/>
                    <a:pt x="592903" y="779309"/>
                    <a:pt x="560899" y="768909"/>
                  </a:cubicBezTo>
                  <a:close/>
                  <a:moveTo>
                    <a:pt x="826434" y="452724"/>
                  </a:moveTo>
                  <a:cubicBezTo>
                    <a:pt x="802229" y="426547"/>
                    <a:pt x="886049" y="423589"/>
                    <a:pt x="841136" y="454159"/>
                  </a:cubicBezTo>
                  <a:cubicBezTo>
                    <a:pt x="840329" y="464647"/>
                    <a:pt x="829034" y="457207"/>
                    <a:pt x="826434" y="452724"/>
                  </a:cubicBezTo>
                  <a:close/>
                  <a:moveTo>
                    <a:pt x="700121" y="238109"/>
                  </a:moveTo>
                  <a:cubicBezTo>
                    <a:pt x="632976" y="210856"/>
                    <a:pt x="733470" y="159220"/>
                    <a:pt x="748620" y="193196"/>
                  </a:cubicBezTo>
                  <a:cubicBezTo>
                    <a:pt x="720202" y="197858"/>
                    <a:pt x="725223" y="232372"/>
                    <a:pt x="700121" y="238109"/>
                  </a:cubicBezTo>
                  <a:close/>
                </a:path>
              </a:pathLst>
            </a:custGeom>
            <a:grpFill/>
            <a:ln w="3175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E6A5079-07A3-4F0C-834C-8FB697623E2F}"/>
                </a:ext>
              </a:extLst>
            </p:cNvPr>
            <p:cNvSpPr/>
            <p:nvPr/>
          </p:nvSpPr>
          <p:spPr>
            <a:xfrm>
              <a:off x="5750584" y="6551043"/>
              <a:ext cx="179294" cy="125506"/>
            </a:xfrm>
            <a:custGeom>
              <a:avLst/>
              <a:gdLst>
                <a:gd name="connsiteX0" fmla="*/ 86784 w 179294"/>
                <a:gd name="connsiteY0" fmla="*/ 126856 h 125505"/>
                <a:gd name="connsiteX1" fmla="*/ 5653 w 179294"/>
                <a:gd name="connsiteY1" fmla="*/ 72978 h 125505"/>
                <a:gd name="connsiteX2" fmla="*/ 76654 w 179294"/>
                <a:gd name="connsiteY2" fmla="*/ 5653 h 125505"/>
                <a:gd name="connsiteX3" fmla="*/ 167914 w 179294"/>
                <a:gd name="connsiteY3" fmla="*/ 86425 h 125505"/>
                <a:gd name="connsiteX4" fmla="*/ 86784 w 179294"/>
                <a:gd name="connsiteY4" fmla="*/ 126856 h 125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294" h="125505">
                  <a:moveTo>
                    <a:pt x="86784" y="126856"/>
                  </a:moveTo>
                  <a:lnTo>
                    <a:pt x="5653" y="72978"/>
                  </a:lnTo>
                  <a:cubicBezTo>
                    <a:pt x="5653" y="72978"/>
                    <a:pt x="36043" y="5653"/>
                    <a:pt x="76654" y="5653"/>
                  </a:cubicBezTo>
                  <a:cubicBezTo>
                    <a:pt x="117174" y="5653"/>
                    <a:pt x="198305" y="46084"/>
                    <a:pt x="167914" y="86425"/>
                  </a:cubicBezTo>
                  <a:cubicBezTo>
                    <a:pt x="137434" y="126856"/>
                    <a:pt x="86784" y="126856"/>
                    <a:pt x="86784" y="126856"/>
                  </a:cubicBezTo>
                  <a:close/>
                </a:path>
              </a:pathLst>
            </a:custGeom>
            <a:grpFill/>
            <a:ln w="3175" cap="flat">
              <a:solidFill>
                <a:schemeClr val="accent5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29A7907-B732-4369-A227-643DE68A8046}"/>
                </a:ext>
              </a:extLst>
            </p:cNvPr>
            <p:cNvSpPr/>
            <p:nvPr/>
          </p:nvSpPr>
          <p:spPr>
            <a:xfrm>
              <a:off x="3358436" y="54170"/>
              <a:ext cx="1855695" cy="1290917"/>
            </a:xfrm>
            <a:custGeom>
              <a:avLst/>
              <a:gdLst>
                <a:gd name="connsiteX0" fmla="*/ 951794 w 1855694"/>
                <a:gd name="connsiteY0" fmla="*/ 1279240 h 1290917"/>
                <a:gd name="connsiteX1" fmla="*/ 749999 w 1855694"/>
                <a:gd name="connsiteY1" fmla="*/ 1224286 h 1290917"/>
                <a:gd name="connsiteX2" fmla="*/ 558244 w 1855694"/>
                <a:gd name="connsiteY2" fmla="*/ 1098870 h 1290917"/>
                <a:gd name="connsiteX3" fmla="*/ 419559 w 1855694"/>
                <a:gd name="connsiteY3" fmla="*/ 1092146 h 1290917"/>
                <a:gd name="connsiteX4" fmla="*/ 267294 w 1855694"/>
                <a:gd name="connsiteY4" fmla="*/ 1093043 h 1290917"/>
                <a:gd name="connsiteX5" fmla="*/ 304372 w 1855694"/>
                <a:gd name="connsiteY5" fmla="*/ 1013078 h 1290917"/>
                <a:gd name="connsiteX6" fmla="*/ 396968 w 1855694"/>
                <a:gd name="connsiteY6" fmla="*/ 992728 h 1290917"/>
                <a:gd name="connsiteX7" fmla="*/ 399658 w 1855694"/>
                <a:gd name="connsiteY7" fmla="*/ 960006 h 1290917"/>
                <a:gd name="connsiteX8" fmla="*/ 444123 w 1855694"/>
                <a:gd name="connsiteY8" fmla="*/ 894743 h 1290917"/>
                <a:gd name="connsiteX9" fmla="*/ 401092 w 1855694"/>
                <a:gd name="connsiteY9" fmla="*/ 872780 h 1290917"/>
                <a:gd name="connsiteX10" fmla="*/ 387018 w 1855694"/>
                <a:gd name="connsiteY10" fmla="*/ 842569 h 1290917"/>
                <a:gd name="connsiteX11" fmla="*/ 343933 w 1855694"/>
                <a:gd name="connsiteY11" fmla="*/ 737682 h 1290917"/>
                <a:gd name="connsiteX12" fmla="*/ 224111 w 1855694"/>
                <a:gd name="connsiteY12" fmla="*/ 699492 h 1290917"/>
                <a:gd name="connsiteX13" fmla="*/ 85526 w 1855694"/>
                <a:gd name="connsiteY13" fmla="*/ 709443 h 1290917"/>
                <a:gd name="connsiteX14" fmla="*/ 116687 w 1855694"/>
                <a:gd name="connsiteY14" fmla="*/ 646780 h 1290917"/>
                <a:gd name="connsiteX15" fmla="*/ 207544 w 1855694"/>
                <a:gd name="connsiteY15" fmla="*/ 638980 h 1290917"/>
                <a:gd name="connsiteX16" fmla="*/ 283681 w 1855694"/>
                <a:gd name="connsiteY16" fmla="*/ 599805 h 1290917"/>
                <a:gd name="connsiteX17" fmla="*/ 336932 w 1855694"/>
                <a:gd name="connsiteY17" fmla="*/ 602225 h 1290917"/>
                <a:gd name="connsiteX18" fmla="*/ 461963 w 1855694"/>
                <a:gd name="connsiteY18" fmla="*/ 554891 h 1290917"/>
                <a:gd name="connsiteX19" fmla="*/ 321504 w 1855694"/>
                <a:gd name="connsiteY19" fmla="*/ 569235 h 1290917"/>
                <a:gd name="connsiteX20" fmla="*/ 425835 w 1855694"/>
                <a:gd name="connsiteY20" fmla="*/ 470982 h 1290917"/>
                <a:gd name="connsiteX21" fmla="*/ 434262 w 1855694"/>
                <a:gd name="connsiteY21" fmla="*/ 445612 h 1290917"/>
                <a:gd name="connsiteX22" fmla="*/ 388273 w 1855694"/>
                <a:gd name="connsiteY22" fmla="*/ 456817 h 1290917"/>
                <a:gd name="connsiteX23" fmla="*/ 390514 w 1855694"/>
                <a:gd name="connsiteY23" fmla="*/ 411115 h 1290917"/>
                <a:gd name="connsiteX24" fmla="*/ 344489 w 1855694"/>
                <a:gd name="connsiteY24" fmla="*/ 381209 h 1290917"/>
                <a:gd name="connsiteX25" fmla="*/ 328290 w 1855694"/>
                <a:gd name="connsiteY25" fmla="*/ 379560 h 1290917"/>
                <a:gd name="connsiteX26" fmla="*/ 308783 w 1855694"/>
                <a:gd name="connsiteY26" fmla="*/ 382760 h 1290917"/>
                <a:gd name="connsiteX27" fmla="*/ 291059 w 1855694"/>
                <a:gd name="connsiteY27" fmla="*/ 383280 h 1290917"/>
                <a:gd name="connsiteX28" fmla="*/ 231274 w 1855694"/>
                <a:gd name="connsiteY28" fmla="*/ 422662 h 1290917"/>
                <a:gd name="connsiteX29" fmla="*/ 70052 w 1855694"/>
                <a:gd name="connsiteY29" fmla="*/ 408641 h 1290917"/>
                <a:gd name="connsiteX30" fmla="*/ 36193 w 1855694"/>
                <a:gd name="connsiteY30" fmla="*/ 374611 h 1290917"/>
                <a:gd name="connsiteX31" fmla="*/ 88574 w 1855694"/>
                <a:gd name="connsiteY31" fmla="*/ 348515 h 1290917"/>
                <a:gd name="connsiteX32" fmla="*/ 102030 w 1855694"/>
                <a:gd name="connsiteY32" fmla="*/ 288003 h 1290917"/>
                <a:gd name="connsiteX33" fmla="*/ 190466 w 1855694"/>
                <a:gd name="connsiteY33" fmla="*/ 356529 h 1290917"/>
                <a:gd name="connsiteX34" fmla="*/ 215370 w 1855694"/>
                <a:gd name="connsiteY34" fmla="*/ 317900 h 1290917"/>
                <a:gd name="connsiteX35" fmla="*/ 133648 w 1855694"/>
                <a:gd name="connsiteY35" fmla="*/ 274171 h 1290917"/>
                <a:gd name="connsiteX36" fmla="*/ 175424 w 1855694"/>
                <a:gd name="connsiteY36" fmla="*/ 247411 h 1290917"/>
                <a:gd name="connsiteX37" fmla="*/ 193559 w 1855694"/>
                <a:gd name="connsiteY37" fmla="*/ 196339 h 1290917"/>
                <a:gd name="connsiteX38" fmla="*/ 251866 w 1855694"/>
                <a:gd name="connsiteY38" fmla="*/ 157056 h 1290917"/>
                <a:gd name="connsiteX39" fmla="*/ 308092 w 1855694"/>
                <a:gd name="connsiteY39" fmla="*/ 211077 h 1290917"/>
                <a:gd name="connsiteX40" fmla="*/ 371509 w 1855694"/>
                <a:gd name="connsiteY40" fmla="*/ 261288 h 1290917"/>
                <a:gd name="connsiteX41" fmla="*/ 278751 w 1855694"/>
                <a:gd name="connsiteY41" fmla="*/ 134787 h 1290917"/>
                <a:gd name="connsiteX42" fmla="*/ 350370 w 1855694"/>
                <a:gd name="connsiteY42" fmla="*/ 120381 h 1290917"/>
                <a:gd name="connsiteX43" fmla="*/ 256249 w 1855694"/>
                <a:gd name="connsiteY43" fmla="*/ 74392 h 1290917"/>
                <a:gd name="connsiteX44" fmla="*/ 287007 w 1855694"/>
                <a:gd name="connsiteY44" fmla="*/ 42747 h 1290917"/>
                <a:gd name="connsiteX45" fmla="*/ 349455 w 1855694"/>
                <a:gd name="connsiteY45" fmla="*/ 34194 h 1290917"/>
                <a:gd name="connsiteX46" fmla="*/ 399389 w 1855694"/>
                <a:gd name="connsiteY46" fmla="*/ 76024 h 1290917"/>
                <a:gd name="connsiteX47" fmla="*/ 437668 w 1855694"/>
                <a:gd name="connsiteY47" fmla="*/ 120408 h 1290917"/>
                <a:gd name="connsiteX48" fmla="*/ 486615 w 1855694"/>
                <a:gd name="connsiteY48" fmla="*/ 204784 h 1290917"/>
                <a:gd name="connsiteX49" fmla="*/ 552058 w 1855694"/>
                <a:gd name="connsiteY49" fmla="*/ 236743 h 1290917"/>
                <a:gd name="connsiteX50" fmla="*/ 543452 w 1855694"/>
                <a:gd name="connsiteY50" fmla="*/ 312970 h 1290917"/>
                <a:gd name="connsiteX51" fmla="*/ 488857 w 1855694"/>
                <a:gd name="connsiteY51" fmla="*/ 349626 h 1290917"/>
                <a:gd name="connsiteX52" fmla="*/ 523371 w 1855694"/>
                <a:gd name="connsiteY52" fmla="*/ 399981 h 1290917"/>
                <a:gd name="connsiteX53" fmla="*/ 559857 w 1855694"/>
                <a:gd name="connsiteY53" fmla="*/ 471789 h 1290917"/>
                <a:gd name="connsiteX54" fmla="*/ 572497 w 1855694"/>
                <a:gd name="connsiteY54" fmla="*/ 499400 h 1290917"/>
                <a:gd name="connsiteX55" fmla="*/ 599750 w 1855694"/>
                <a:gd name="connsiteY55" fmla="*/ 494380 h 1290917"/>
                <a:gd name="connsiteX56" fmla="*/ 640181 w 1855694"/>
                <a:gd name="connsiteY56" fmla="*/ 357757 h 1290917"/>
                <a:gd name="connsiteX57" fmla="*/ 694507 w 1855694"/>
                <a:gd name="connsiteY57" fmla="*/ 390694 h 1290917"/>
                <a:gd name="connsiteX58" fmla="*/ 724180 w 1855694"/>
                <a:gd name="connsiteY58" fmla="*/ 190637 h 1290917"/>
                <a:gd name="connsiteX59" fmla="*/ 815351 w 1855694"/>
                <a:gd name="connsiteY59" fmla="*/ 311777 h 1290917"/>
                <a:gd name="connsiteX60" fmla="*/ 842963 w 1855694"/>
                <a:gd name="connsiteY60" fmla="*/ 269195 h 1290917"/>
                <a:gd name="connsiteX61" fmla="*/ 900964 w 1855694"/>
                <a:gd name="connsiteY61" fmla="*/ 199961 h 1290917"/>
                <a:gd name="connsiteX62" fmla="*/ 941485 w 1855694"/>
                <a:gd name="connsiteY62" fmla="*/ 174833 h 1290917"/>
                <a:gd name="connsiteX63" fmla="*/ 1000203 w 1855694"/>
                <a:gd name="connsiteY63" fmla="*/ 211812 h 1290917"/>
                <a:gd name="connsiteX64" fmla="*/ 1060446 w 1855694"/>
                <a:gd name="connsiteY64" fmla="*/ 324167 h 1290917"/>
                <a:gd name="connsiteX65" fmla="*/ 1048075 w 1855694"/>
                <a:gd name="connsiteY65" fmla="*/ 266138 h 1290917"/>
                <a:gd name="connsiteX66" fmla="*/ 1102401 w 1855694"/>
                <a:gd name="connsiteY66" fmla="*/ 184434 h 1290917"/>
                <a:gd name="connsiteX67" fmla="*/ 1191779 w 1855694"/>
                <a:gd name="connsiteY67" fmla="*/ 192135 h 1290917"/>
                <a:gd name="connsiteX68" fmla="*/ 1258029 w 1855694"/>
                <a:gd name="connsiteY68" fmla="*/ 181995 h 1290917"/>
                <a:gd name="connsiteX69" fmla="*/ 1305721 w 1855694"/>
                <a:gd name="connsiteY69" fmla="*/ 31693 h 1290917"/>
                <a:gd name="connsiteX70" fmla="*/ 1393216 w 1855694"/>
                <a:gd name="connsiteY70" fmla="*/ 11388 h 1290917"/>
                <a:gd name="connsiteX71" fmla="*/ 1454176 w 1855694"/>
                <a:gd name="connsiteY71" fmla="*/ 82702 h 1290917"/>
                <a:gd name="connsiteX72" fmla="*/ 1504648 w 1855694"/>
                <a:gd name="connsiteY72" fmla="*/ 118113 h 1290917"/>
                <a:gd name="connsiteX73" fmla="*/ 1613658 w 1855694"/>
                <a:gd name="connsiteY73" fmla="*/ 64612 h 1290917"/>
                <a:gd name="connsiteX74" fmla="*/ 1576724 w 1855694"/>
                <a:gd name="connsiteY74" fmla="*/ 130287 h 1290917"/>
                <a:gd name="connsiteX75" fmla="*/ 1557360 w 1855694"/>
                <a:gd name="connsiteY75" fmla="*/ 185178 h 1290917"/>
                <a:gd name="connsiteX76" fmla="*/ 1634636 w 1855694"/>
                <a:gd name="connsiteY76" fmla="*/ 223466 h 1290917"/>
                <a:gd name="connsiteX77" fmla="*/ 1645931 w 1855694"/>
                <a:gd name="connsiteY77" fmla="*/ 304426 h 1290917"/>
                <a:gd name="connsiteX78" fmla="*/ 1684121 w 1855694"/>
                <a:gd name="connsiteY78" fmla="*/ 326587 h 1290917"/>
                <a:gd name="connsiteX79" fmla="*/ 1809896 w 1855694"/>
                <a:gd name="connsiteY79" fmla="*/ 396100 h 1290917"/>
                <a:gd name="connsiteX80" fmla="*/ 1797256 w 1855694"/>
                <a:gd name="connsiteY80" fmla="*/ 478153 h 1290917"/>
                <a:gd name="connsiteX81" fmla="*/ 1816978 w 1855694"/>
                <a:gd name="connsiteY81" fmla="*/ 519570 h 1290917"/>
                <a:gd name="connsiteX82" fmla="*/ 1839748 w 1855694"/>
                <a:gd name="connsiteY82" fmla="*/ 532031 h 1290917"/>
                <a:gd name="connsiteX83" fmla="*/ 1765700 w 1855694"/>
                <a:gd name="connsiteY83" fmla="*/ 581696 h 1290917"/>
                <a:gd name="connsiteX84" fmla="*/ 1789008 w 1855694"/>
                <a:gd name="connsiteY84" fmla="*/ 636829 h 1290917"/>
                <a:gd name="connsiteX85" fmla="*/ 1772782 w 1855694"/>
                <a:gd name="connsiteY85" fmla="*/ 703705 h 1290917"/>
                <a:gd name="connsiteX86" fmla="*/ 1711015 w 1855694"/>
                <a:gd name="connsiteY86" fmla="*/ 723249 h 1290917"/>
                <a:gd name="connsiteX87" fmla="*/ 1703843 w 1855694"/>
                <a:gd name="connsiteY87" fmla="*/ 755701 h 1290917"/>
                <a:gd name="connsiteX88" fmla="*/ 1721235 w 1855694"/>
                <a:gd name="connsiteY88" fmla="*/ 760004 h 1290917"/>
                <a:gd name="connsiteX89" fmla="*/ 1631409 w 1855694"/>
                <a:gd name="connsiteY89" fmla="*/ 885061 h 1290917"/>
                <a:gd name="connsiteX90" fmla="*/ 1602901 w 1855694"/>
                <a:gd name="connsiteY90" fmla="*/ 907832 h 1290917"/>
                <a:gd name="connsiteX91" fmla="*/ 1543913 w 1855694"/>
                <a:gd name="connsiteY91" fmla="*/ 891426 h 1290917"/>
                <a:gd name="connsiteX92" fmla="*/ 1574483 w 1855694"/>
                <a:gd name="connsiteY92" fmla="*/ 922355 h 1290917"/>
                <a:gd name="connsiteX93" fmla="*/ 1380935 w 1855694"/>
                <a:gd name="connsiteY93" fmla="*/ 1043378 h 1290917"/>
                <a:gd name="connsiteX94" fmla="*/ 1204061 w 1855694"/>
                <a:gd name="connsiteY94" fmla="*/ 1127378 h 1290917"/>
                <a:gd name="connsiteX95" fmla="*/ 1022077 w 1855694"/>
                <a:gd name="connsiteY95" fmla="*/ 1263462 h 1290917"/>
                <a:gd name="connsiteX96" fmla="*/ 951794 w 1855694"/>
                <a:gd name="connsiteY96" fmla="*/ 1279240 h 1290917"/>
                <a:gd name="connsiteX97" fmla="*/ 476665 w 1855694"/>
                <a:gd name="connsiteY97" fmla="*/ 876007 h 1290917"/>
                <a:gd name="connsiteX98" fmla="*/ 458197 w 1855694"/>
                <a:gd name="connsiteY98" fmla="*/ 889813 h 1290917"/>
                <a:gd name="connsiteX99" fmla="*/ 465638 w 1855694"/>
                <a:gd name="connsiteY99" fmla="*/ 884075 h 1290917"/>
                <a:gd name="connsiteX100" fmla="*/ 476665 w 1855694"/>
                <a:gd name="connsiteY100" fmla="*/ 876007 h 1290917"/>
                <a:gd name="connsiteX101" fmla="*/ 434351 w 1855694"/>
                <a:gd name="connsiteY101" fmla="*/ 815495 h 1290917"/>
                <a:gd name="connsiteX102" fmla="*/ 434351 w 1855694"/>
                <a:gd name="connsiteY102" fmla="*/ 815495 h 1290917"/>
                <a:gd name="connsiteX103" fmla="*/ 305448 w 1855694"/>
                <a:gd name="connsiteY103" fmla="*/ 232628 h 1290917"/>
                <a:gd name="connsiteX104" fmla="*/ 305448 w 1855694"/>
                <a:gd name="connsiteY104" fmla="*/ 232628 h 1290917"/>
                <a:gd name="connsiteX105" fmla="*/ 1016071 w 1855694"/>
                <a:gd name="connsiteY105" fmla="*/ 248065 h 1290917"/>
                <a:gd name="connsiteX106" fmla="*/ 1016071 w 1855694"/>
                <a:gd name="connsiteY106" fmla="*/ 248065 h 129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1855694" h="1290917">
                  <a:moveTo>
                    <a:pt x="951794" y="1279240"/>
                  </a:moveTo>
                  <a:cubicBezTo>
                    <a:pt x="880166" y="1285246"/>
                    <a:pt x="823061" y="1223210"/>
                    <a:pt x="749999" y="1224286"/>
                  </a:cubicBezTo>
                  <a:cubicBezTo>
                    <a:pt x="668689" y="1219445"/>
                    <a:pt x="633995" y="1122805"/>
                    <a:pt x="558244" y="1098870"/>
                  </a:cubicBezTo>
                  <a:cubicBezTo>
                    <a:pt x="515840" y="1068928"/>
                    <a:pt x="464473" y="1111869"/>
                    <a:pt x="419559" y="1092146"/>
                  </a:cubicBezTo>
                  <a:cubicBezTo>
                    <a:pt x="369267" y="1090891"/>
                    <a:pt x="308424" y="1101559"/>
                    <a:pt x="267294" y="1093043"/>
                  </a:cubicBezTo>
                  <a:cubicBezTo>
                    <a:pt x="269392" y="1065611"/>
                    <a:pt x="263197" y="943601"/>
                    <a:pt x="304372" y="1013078"/>
                  </a:cubicBezTo>
                  <a:cubicBezTo>
                    <a:pt x="320257" y="1045530"/>
                    <a:pt x="383342" y="1003754"/>
                    <a:pt x="396968" y="992728"/>
                  </a:cubicBezTo>
                  <a:cubicBezTo>
                    <a:pt x="410953" y="972019"/>
                    <a:pt x="398403" y="977398"/>
                    <a:pt x="399658" y="960006"/>
                  </a:cubicBezTo>
                  <a:cubicBezTo>
                    <a:pt x="464204" y="981791"/>
                    <a:pt x="399479" y="904336"/>
                    <a:pt x="444123" y="894743"/>
                  </a:cubicBezTo>
                  <a:cubicBezTo>
                    <a:pt x="411312" y="921010"/>
                    <a:pt x="363709" y="910521"/>
                    <a:pt x="401092" y="872780"/>
                  </a:cubicBezTo>
                  <a:cubicBezTo>
                    <a:pt x="399479" y="834949"/>
                    <a:pt x="432110" y="800973"/>
                    <a:pt x="387018" y="842569"/>
                  </a:cubicBezTo>
                  <a:cubicBezTo>
                    <a:pt x="358868" y="832080"/>
                    <a:pt x="324130" y="774078"/>
                    <a:pt x="343933" y="737682"/>
                  </a:cubicBezTo>
                  <a:cubicBezTo>
                    <a:pt x="338617" y="687928"/>
                    <a:pt x="272153" y="722711"/>
                    <a:pt x="224111" y="699492"/>
                  </a:cubicBezTo>
                  <a:cubicBezTo>
                    <a:pt x="167382" y="659868"/>
                    <a:pt x="135952" y="744136"/>
                    <a:pt x="85526" y="709443"/>
                  </a:cubicBezTo>
                  <a:cubicBezTo>
                    <a:pt x="52437" y="675377"/>
                    <a:pt x="73567" y="619527"/>
                    <a:pt x="116687" y="646780"/>
                  </a:cubicBezTo>
                  <a:cubicBezTo>
                    <a:pt x="151551" y="661751"/>
                    <a:pt x="187051" y="603928"/>
                    <a:pt x="207544" y="638980"/>
                  </a:cubicBezTo>
                  <a:cubicBezTo>
                    <a:pt x="207042" y="589226"/>
                    <a:pt x="271857" y="637815"/>
                    <a:pt x="283681" y="599805"/>
                  </a:cubicBezTo>
                  <a:cubicBezTo>
                    <a:pt x="306407" y="557043"/>
                    <a:pt x="299603" y="642656"/>
                    <a:pt x="336932" y="602225"/>
                  </a:cubicBezTo>
                  <a:cubicBezTo>
                    <a:pt x="387914" y="595591"/>
                    <a:pt x="472989" y="648124"/>
                    <a:pt x="461963" y="554891"/>
                  </a:cubicBezTo>
                  <a:cubicBezTo>
                    <a:pt x="428255" y="609486"/>
                    <a:pt x="341369" y="560808"/>
                    <a:pt x="321504" y="569235"/>
                  </a:cubicBezTo>
                  <a:cubicBezTo>
                    <a:pt x="293973" y="543148"/>
                    <a:pt x="386659" y="493662"/>
                    <a:pt x="425835" y="470982"/>
                  </a:cubicBezTo>
                  <a:cubicBezTo>
                    <a:pt x="454253" y="449018"/>
                    <a:pt x="475230" y="465334"/>
                    <a:pt x="434262" y="445612"/>
                  </a:cubicBezTo>
                  <a:cubicBezTo>
                    <a:pt x="416691" y="423379"/>
                    <a:pt x="413105" y="433778"/>
                    <a:pt x="388273" y="456817"/>
                  </a:cubicBezTo>
                  <a:cubicBezTo>
                    <a:pt x="327851" y="441309"/>
                    <a:pt x="386121" y="413787"/>
                    <a:pt x="390514" y="411115"/>
                  </a:cubicBezTo>
                  <a:cubicBezTo>
                    <a:pt x="361379" y="412353"/>
                    <a:pt x="336224" y="439605"/>
                    <a:pt x="344489" y="381209"/>
                  </a:cubicBezTo>
                  <a:cubicBezTo>
                    <a:pt x="338043" y="369232"/>
                    <a:pt x="330979" y="428668"/>
                    <a:pt x="328290" y="379560"/>
                  </a:cubicBezTo>
                  <a:cubicBezTo>
                    <a:pt x="322660" y="433957"/>
                    <a:pt x="314143" y="398386"/>
                    <a:pt x="308783" y="382760"/>
                  </a:cubicBezTo>
                  <a:cubicBezTo>
                    <a:pt x="331867" y="454218"/>
                    <a:pt x="262238" y="408659"/>
                    <a:pt x="291059" y="383280"/>
                  </a:cubicBezTo>
                  <a:cubicBezTo>
                    <a:pt x="272269" y="424007"/>
                    <a:pt x="227724" y="374046"/>
                    <a:pt x="231274" y="422662"/>
                  </a:cubicBezTo>
                  <a:cubicBezTo>
                    <a:pt x="173075" y="412353"/>
                    <a:pt x="110358" y="483622"/>
                    <a:pt x="70052" y="408641"/>
                  </a:cubicBezTo>
                  <a:cubicBezTo>
                    <a:pt x="33503" y="414594"/>
                    <a:pt x="-20895" y="409331"/>
                    <a:pt x="36193" y="374611"/>
                  </a:cubicBezTo>
                  <a:cubicBezTo>
                    <a:pt x="35027" y="288120"/>
                    <a:pt x="140667" y="437992"/>
                    <a:pt x="88574" y="348515"/>
                  </a:cubicBezTo>
                  <a:cubicBezTo>
                    <a:pt x="145768" y="372639"/>
                    <a:pt x="44620" y="282750"/>
                    <a:pt x="102030" y="288003"/>
                  </a:cubicBezTo>
                  <a:cubicBezTo>
                    <a:pt x="142998" y="296107"/>
                    <a:pt x="173505" y="358824"/>
                    <a:pt x="190466" y="356529"/>
                  </a:cubicBezTo>
                  <a:cubicBezTo>
                    <a:pt x="214447" y="347170"/>
                    <a:pt x="145141" y="311795"/>
                    <a:pt x="215370" y="317900"/>
                  </a:cubicBezTo>
                  <a:cubicBezTo>
                    <a:pt x="275030" y="295964"/>
                    <a:pt x="129148" y="334512"/>
                    <a:pt x="133648" y="274171"/>
                  </a:cubicBezTo>
                  <a:cubicBezTo>
                    <a:pt x="102881" y="190879"/>
                    <a:pt x="257738" y="310155"/>
                    <a:pt x="175424" y="247411"/>
                  </a:cubicBezTo>
                  <a:cubicBezTo>
                    <a:pt x="113002" y="206245"/>
                    <a:pt x="167185" y="170431"/>
                    <a:pt x="193559" y="196339"/>
                  </a:cubicBezTo>
                  <a:cubicBezTo>
                    <a:pt x="137395" y="166702"/>
                    <a:pt x="214859" y="103931"/>
                    <a:pt x="251866" y="157056"/>
                  </a:cubicBezTo>
                  <a:cubicBezTo>
                    <a:pt x="263600" y="175971"/>
                    <a:pt x="303108" y="224694"/>
                    <a:pt x="308092" y="211077"/>
                  </a:cubicBezTo>
                  <a:cubicBezTo>
                    <a:pt x="323467" y="169418"/>
                    <a:pt x="365771" y="271974"/>
                    <a:pt x="371509" y="261288"/>
                  </a:cubicBezTo>
                  <a:cubicBezTo>
                    <a:pt x="378232" y="184999"/>
                    <a:pt x="319056" y="190548"/>
                    <a:pt x="278751" y="134787"/>
                  </a:cubicBezTo>
                  <a:cubicBezTo>
                    <a:pt x="300445" y="94742"/>
                    <a:pt x="387914" y="150440"/>
                    <a:pt x="350370" y="120381"/>
                  </a:cubicBezTo>
                  <a:cubicBezTo>
                    <a:pt x="332566" y="78059"/>
                    <a:pt x="239190" y="124559"/>
                    <a:pt x="256249" y="74392"/>
                  </a:cubicBezTo>
                  <a:cubicBezTo>
                    <a:pt x="307877" y="88834"/>
                    <a:pt x="222990" y="29049"/>
                    <a:pt x="287007" y="42747"/>
                  </a:cubicBezTo>
                  <a:cubicBezTo>
                    <a:pt x="299217" y="3141"/>
                    <a:pt x="336322" y="77144"/>
                    <a:pt x="349455" y="34194"/>
                  </a:cubicBezTo>
                  <a:cubicBezTo>
                    <a:pt x="373122" y="48986"/>
                    <a:pt x="378143" y="35243"/>
                    <a:pt x="399389" y="76024"/>
                  </a:cubicBezTo>
                  <a:cubicBezTo>
                    <a:pt x="416870" y="92868"/>
                    <a:pt x="407547" y="120238"/>
                    <a:pt x="437668" y="120408"/>
                  </a:cubicBezTo>
                  <a:cubicBezTo>
                    <a:pt x="462859" y="138319"/>
                    <a:pt x="495132" y="165599"/>
                    <a:pt x="486615" y="204784"/>
                  </a:cubicBezTo>
                  <a:cubicBezTo>
                    <a:pt x="522385" y="186236"/>
                    <a:pt x="512703" y="230539"/>
                    <a:pt x="552058" y="236743"/>
                  </a:cubicBezTo>
                  <a:cubicBezTo>
                    <a:pt x="516916" y="242149"/>
                    <a:pt x="581462" y="281531"/>
                    <a:pt x="543452" y="312970"/>
                  </a:cubicBezTo>
                  <a:cubicBezTo>
                    <a:pt x="539238" y="342347"/>
                    <a:pt x="515213" y="369098"/>
                    <a:pt x="488857" y="349626"/>
                  </a:cubicBezTo>
                  <a:cubicBezTo>
                    <a:pt x="491277" y="374674"/>
                    <a:pt x="544976" y="381756"/>
                    <a:pt x="523371" y="399981"/>
                  </a:cubicBezTo>
                  <a:cubicBezTo>
                    <a:pt x="565146" y="375023"/>
                    <a:pt x="527674" y="452156"/>
                    <a:pt x="559857" y="471789"/>
                  </a:cubicBezTo>
                  <a:cubicBezTo>
                    <a:pt x="564340" y="493662"/>
                    <a:pt x="563622" y="562780"/>
                    <a:pt x="572497" y="499400"/>
                  </a:cubicBezTo>
                  <a:cubicBezTo>
                    <a:pt x="563533" y="440771"/>
                    <a:pt x="588365" y="449556"/>
                    <a:pt x="599750" y="494380"/>
                  </a:cubicBezTo>
                  <a:cubicBezTo>
                    <a:pt x="579848" y="443819"/>
                    <a:pt x="597957" y="390416"/>
                    <a:pt x="640181" y="357757"/>
                  </a:cubicBezTo>
                  <a:cubicBezTo>
                    <a:pt x="671647" y="361505"/>
                    <a:pt x="641705" y="420600"/>
                    <a:pt x="694507" y="390694"/>
                  </a:cubicBezTo>
                  <a:cubicBezTo>
                    <a:pt x="752509" y="332970"/>
                    <a:pt x="630947" y="214143"/>
                    <a:pt x="724180" y="190637"/>
                  </a:cubicBezTo>
                  <a:cubicBezTo>
                    <a:pt x="768556" y="200409"/>
                    <a:pt x="777251" y="282562"/>
                    <a:pt x="815351" y="311777"/>
                  </a:cubicBezTo>
                  <a:cubicBezTo>
                    <a:pt x="820730" y="370703"/>
                    <a:pt x="889758" y="315991"/>
                    <a:pt x="842963" y="269195"/>
                  </a:cubicBezTo>
                  <a:cubicBezTo>
                    <a:pt x="830681" y="235524"/>
                    <a:pt x="861430" y="198311"/>
                    <a:pt x="900964" y="199961"/>
                  </a:cubicBezTo>
                  <a:cubicBezTo>
                    <a:pt x="901950" y="167293"/>
                    <a:pt x="941126" y="157109"/>
                    <a:pt x="941485" y="174833"/>
                  </a:cubicBezTo>
                  <a:cubicBezTo>
                    <a:pt x="958787" y="131148"/>
                    <a:pt x="984246" y="210046"/>
                    <a:pt x="1000203" y="211812"/>
                  </a:cubicBezTo>
                  <a:cubicBezTo>
                    <a:pt x="987205" y="266577"/>
                    <a:pt x="1064301" y="264148"/>
                    <a:pt x="1060446" y="324167"/>
                  </a:cubicBezTo>
                  <a:cubicBezTo>
                    <a:pt x="1070308" y="386956"/>
                    <a:pt x="1077479" y="272422"/>
                    <a:pt x="1048075" y="266138"/>
                  </a:cubicBezTo>
                  <a:cubicBezTo>
                    <a:pt x="1007555" y="213596"/>
                    <a:pt x="1032297" y="131443"/>
                    <a:pt x="1102401" y="184434"/>
                  </a:cubicBezTo>
                  <a:cubicBezTo>
                    <a:pt x="1127323" y="230163"/>
                    <a:pt x="1183442" y="265654"/>
                    <a:pt x="1191779" y="192135"/>
                  </a:cubicBezTo>
                  <a:cubicBezTo>
                    <a:pt x="1186042" y="152663"/>
                    <a:pt x="1249153" y="128342"/>
                    <a:pt x="1258029" y="181995"/>
                  </a:cubicBezTo>
                  <a:cubicBezTo>
                    <a:pt x="1344269" y="165707"/>
                    <a:pt x="1323740" y="90914"/>
                    <a:pt x="1305721" y="31693"/>
                  </a:cubicBezTo>
                  <a:cubicBezTo>
                    <a:pt x="1332077" y="24665"/>
                    <a:pt x="1372149" y="19286"/>
                    <a:pt x="1393216" y="11388"/>
                  </a:cubicBezTo>
                  <a:cubicBezTo>
                    <a:pt x="1420917" y="35700"/>
                    <a:pt x="1419124" y="60721"/>
                    <a:pt x="1454176" y="82702"/>
                  </a:cubicBezTo>
                  <a:cubicBezTo>
                    <a:pt x="1412490" y="121941"/>
                    <a:pt x="1527418" y="185330"/>
                    <a:pt x="1504648" y="118113"/>
                  </a:cubicBezTo>
                  <a:cubicBezTo>
                    <a:pt x="1553416" y="117127"/>
                    <a:pt x="1561215" y="40891"/>
                    <a:pt x="1613658" y="64612"/>
                  </a:cubicBezTo>
                  <a:cubicBezTo>
                    <a:pt x="1677666" y="56454"/>
                    <a:pt x="1534052" y="97243"/>
                    <a:pt x="1576724" y="130287"/>
                  </a:cubicBezTo>
                  <a:cubicBezTo>
                    <a:pt x="1572241" y="166011"/>
                    <a:pt x="1521053" y="172224"/>
                    <a:pt x="1557360" y="185178"/>
                  </a:cubicBezTo>
                  <a:cubicBezTo>
                    <a:pt x="1574393" y="235219"/>
                    <a:pt x="1633470" y="147338"/>
                    <a:pt x="1634636" y="223466"/>
                  </a:cubicBezTo>
                  <a:cubicBezTo>
                    <a:pt x="1637863" y="265448"/>
                    <a:pt x="1561304" y="342858"/>
                    <a:pt x="1645931" y="304426"/>
                  </a:cubicBezTo>
                  <a:cubicBezTo>
                    <a:pt x="1681432" y="280894"/>
                    <a:pt x="1689052" y="289258"/>
                    <a:pt x="1684121" y="326587"/>
                  </a:cubicBezTo>
                  <a:cubicBezTo>
                    <a:pt x="1729124" y="364203"/>
                    <a:pt x="1783719" y="355534"/>
                    <a:pt x="1809896" y="396100"/>
                  </a:cubicBezTo>
                  <a:cubicBezTo>
                    <a:pt x="1829439" y="441757"/>
                    <a:pt x="1762652" y="476361"/>
                    <a:pt x="1797256" y="478153"/>
                  </a:cubicBezTo>
                  <a:cubicBezTo>
                    <a:pt x="1872559" y="481560"/>
                    <a:pt x="1744812" y="540637"/>
                    <a:pt x="1816978" y="519570"/>
                  </a:cubicBezTo>
                  <a:cubicBezTo>
                    <a:pt x="1815364" y="556326"/>
                    <a:pt x="1819219" y="541265"/>
                    <a:pt x="1839748" y="532031"/>
                  </a:cubicBezTo>
                  <a:cubicBezTo>
                    <a:pt x="1861264" y="583758"/>
                    <a:pt x="1805593" y="633064"/>
                    <a:pt x="1765700" y="581696"/>
                  </a:cubicBezTo>
                  <a:cubicBezTo>
                    <a:pt x="1710657" y="588599"/>
                    <a:pt x="1882869" y="631719"/>
                    <a:pt x="1789008" y="636829"/>
                  </a:cubicBezTo>
                  <a:cubicBezTo>
                    <a:pt x="1841272" y="672508"/>
                    <a:pt x="1752701" y="676901"/>
                    <a:pt x="1772782" y="703705"/>
                  </a:cubicBezTo>
                  <a:cubicBezTo>
                    <a:pt x="1762652" y="779368"/>
                    <a:pt x="1656599" y="660854"/>
                    <a:pt x="1711015" y="723249"/>
                  </a:cubicBezTo>
                  <a:cubicBezTo>
                    <a:pt x="1765969" y="757494"/>
                    <a:pt x="1684300" y="739206"/>
                    <a:pt x="1703843" y="755701"/>
                  </a:cubicBezTo>
                  <a:cubicBezTo>
                    <a:pt x="1648621" y="798373"/>
                    <a:pt x="1694789" y="783312"/>
                    <a:pt x="1721235" y="760004"/>
                  </a:cubicBezTo>
                  <a:cubicBezTo>
                    <a:pt x="1706085" y="811730"/>
                    <a:pt x="1681969" y="858167"/>
                    <a:pt x="1631409" y="885061"/>
                  </a:cubicBezTo>
                  <a:cubicBezTo>
                    <a:pt x="1649338" y="931409"/>
                    <a:pt x="1542030" y="926120"/>
                    <a:pt x="1602901" y="907832"/>
                  </a:cubicBezTo>
                  <a:cubicBezTo>
                    <a:pt x="1580758" y="899315"/>
                    <a:pt x="1567311" y="924237"/>
                    <a:pt x="1543913" y="891426"/>
                  </a:cubicBezTo>
                  <a:cubicBezTo>
                    <a:pt x="1533335" y="920293"/>
                    <a:pt x="1546513" y="914824"/>
                    <a:pt x="1574483" y="922355"/>
                  </a:cubicBezTo>
                  <a:cubicBezTo>
                    <a:pt x="1493352" y="926389"/>
                    <a:pt x="1429972" y="984480"/>
                    <a:pt x="1380935" y="1043378"/>
                  </a:cubicBezTo>
                  <a:cubicBezTo>
                    <a:pt x="1352337" y="1124330"/>
                    <a:pt x="1274882" y="1117696"/>
                    <a:pt x="1204061" y="1127378"/>
                  </a:cubicBezTo>
                  <a:cubicBezTo>
                    <a:pt x="1116207" y="1140107"/>
                    <a:pt x="1124096" y="1267944"/>
                    <a:pt x="1022077" y="1263462"/>
                  </a:cubicBezTo>
                  <a:cubicBezTo>
                    <a:pt x="999217" y="1270096"/>
                    <a:pt x="976357" y="1282915"/>
                    <a:pt x="951794" y="1279240"/>
                  </a:cubicBezTo>
                  <a:close/>
                  <a:moveTo>
                    <a:pt x="476665" y="876007"/>
                  </a:moveTo>
                  <a:cubicBezTo>
                    <a:pt x="532246" y="888378"/>
                    <a:pt x="435965" y="861215"/>
                    <a:pt x="458197" y="889813"/>
                  </a:cubicBezTo>
                  <a:lnTo>
                    <a:pt x="465638" y="884075"/>
                  </a:lnTo>
                  <a:lnTo>
                    <a:pt x="476665" y="876007"/>
                  </a:lnTo>
                  <a:close/>
                  <a:moveTo>
                    <a:pt x="434351" y="815495"/>
                  </a:moveTo>
                  <a:cubicBezTo>
                    <a:pt x="474334" y="782326"/>
                    <a:pt x="390872" y="832080"/>
                    <a:pt x="434351" y="815495"/>
                  </a:cubicBezTo>
                  <a:close/>
                  <a:moveTo>
                    <a:pt x="305448" y="232628"/>
                  </a:moveTo>
                  <a:cubicBezTo>
                    <a:pt x="305206" y="208585"/>
                    <a:pt x="297971" y="276026"/>
                    <a:pt x="305448" y="232628"/>
                  </a:cubicBezTo>
                  <a:close/>
                  <a:moveTo>
                    <a:pt x="1016071" y="248065"/>
                  </a:moveTo>
                  <a:cubicBezTo>
                    <a:pt x="1001100" y="200310"/>
                    <a:pt x="1044579" y="254278"/>
                    <a:pt x="1016071" y="248065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317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</p:grpSp>
    </p:spTree>
    <p:extLst>
      <p:ext uri="{BB962C8B-B14F-4D97-AF65-F5344CB8AC3E}">
        <p14:creationId xmlns:p14="http://schemas.microsoft.com/office/powerpoint/2010/main" val="2546479251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Breytingar </a:t>
            </a:r>
            <a:r>
              <a:rPr lang="is-IS">
                <a:solidFill>
                  <a:schemeClr val="accent3"/>
                </a:solidFill>
              </a:rPr>
              <a:t>á deiltölum</a:t>
            </a:r>
            <a:endParaRPr lang="is-IS" dirty="0">
              <a:solidFill>
                <a:schemeClr val="accent3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FAC22C8-389D-43CD-AEDA-E6D466297880}"/>
              </a:ext>
            </a:extLst>
          </p:cNvPr>
          <p:cNvGrpSpPr/>
          <p:nvPr/>
        </p:nvGrpSpPr>
        <p:grpSpPr>
          <a:xfrm>
            <a:off x="693127" y="2188224"/>
            <a:ext cx="10805746" cy="3321046"/>
            <a:chOff x="693127" y="2188224"/>
            <a:chExt cx="10805746" cy="332104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155BC5A-3833-47BD-B72F-637A8EE2BC65}"/>
                </a:ext>
              </a:extLst>
            </p:cNvPr>
            <p:cNvSpPr/>
            <p:nvPr/>
          </p:nvSpPr>
          <p:spPr>
            <a:xfrm>
              <a:off x="693127" y="2188224"/>
              <a:ext cx="10805746" cy="27193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CCEE2E9-7ED6-425E-8988-D76FF2E6264E}"/>
                </a:ext>
              </a:extLst>
            </p:cNvPr>
            <p:cNvSpPr/>
            <p:nvPr/>
          </p:nvSpPr>
          <p:spPr>
            <a:xfrm>
              <a:off x="1243688" y="2477671"/>
              <a:ext cx="9410329" cy="30315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ið styttingu vinnuvikunnar breytast deilitölur til að finna tímakaup.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Deilitölur hjá afgreiðslufólki verða:  167,94 í stað 170 og fyrir virkan vinnutíma 155,3 í stað 158,5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Deilitölur hjá skrifstofufólki verða: 159,27 í stað 160 og fyrir virkan vinnutíma 153,86 í stað 157,1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Yfirvinna reiknast þegar ofangreindum vinnutíma er náð á mánuði.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ið breytingu á deilitölum þá hækkar tímakaup í dagvinnu um 1,2% hjá afgreiðslufólki og um 0,5% hjá skrifstofufólki. 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endPara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endPara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endPara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9549993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127" y="641354"/>
            <a:ext cx="11160000" cy="434608"/>
          </a:xfrm>
        </p:spPr>
        <p:txBody>
          <a:bodyPr/>
          <a:lstStyle/>
          <a:p>
            <a:r>
              <a:rPr lang="is-IS" sz="3600" dirty="0">
                <a:solidFill>
                  <a:schemeClr val="accent3"/>
                </a:solidFill>
              </a:rPr>
              <a:t>Aðrar breytingar á kjarasamningi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FAC22C8-389D-43CD-AEDA-E6D466297880}"/>
              </a:ext>
            </a:extLst>
          </p:cNvPr>
          <p:cNvGrpSpPr/>
          <p:nvPr/>
        </p:nvGrpSpPr>
        <p:grpSpPr>
          <a:xfrm>
            <a:off x="693127" y="2188224"/>
            <a:ext cx="10805746" cy="3197936"/>
            <a:chOff x="693127" y="2188224"/>
            <a:chExt cx="10805746" cy="319793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155BC5A-3833-47BD-B72F-637A8EE2BC65}"/>
                </a:ext>
              </a:extLst>
            </p:cNvPr>
            <p:cNvSpPr/>
            <p:nvPr/>
          </p:nvSpPr>
          <p:spPr>
            <a:xfrm>
              <a:off x="693127" y="2188224"/>
              <a:ext cx="10805746" cy="27193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40000"/>
                  <a:lumOff val="6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CCEE2E9-7ED6-425E-8988-D76FF2E6264E}"/>
                </a:ext>
              </a:extLst>
            </p:cNvPr>
            <p:cNvSpPr/>
            <p:nvPr/>
          </p:nvSpPr>
          <p:spPr>
            <a:xfrm>
              <a:off x="1243688" y="2477671"/>
              <a:ext cx="9410329" cy="29084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sz="20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Rýmri réttur starfsmanna að taka orlof umfram 20 daga að vetri.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sz="20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Breytingar á texta vegna síma starfsmanna á vegum atvinnurekanda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sz="20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Bókun um fjármögnun á leiguíbúðafélagi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sz="20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Bókun um nýtt launakerfi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sz="20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Bókun um starfsmenntamál</a:t>
              </a: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endPara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endPara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270000" indent="-270000">
                <a:spcBef>
                  <a:spcPts val="600"/>
                </a:spcBef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endPara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4235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9">
            <a:extLst>
              <a:ext uri="{FF2B5EF4-FFF2-40B4-BE49-F238E27FC236}">
                <a16:creationId xmlns:a16="http://schemas.microsoft.com/office/drawing/2014/main" id="{44616879-E1D6-41F1-B07D-75242ED0F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60363"/>
            <a:ext cx="11160125" cy="434975"/>
          </a:xfrm>
        </p:spPr>
        <p:txBody>
          <a:bodyPr/>
          <a:lstStyle/>
          <a:p>
            <a:r>
              <a:rPr lang="is-IS" sz="3600" dirty="0">
                <a:solidFill>
                  <a:schemeClr val="accent3"/>
                </a:solidFill>
              </a:rPr>
              <a:t>Nýr samningur fyrir starfsfólk í ferðaþjónustu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AD92825-011B-4D41-9B52-0A8DBFDD627B}"/>
              </a:ext>
            </a:extLst>
          </p:cNvPr>
          <p:cNvSpPr/>
          <p:nvPr/>
        </p:nvSpPr>
        <p:spPr>
          <a:xfrm>
            <a:off x="693127" y="2188224"/>
            <a:ext cx="10805746" cy="3338369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75A64B6-E321-4DED-99DF-31399FC80C88}"/>
              </a:ext>
            </a:extLst>
          </p:cNvPr>
          <p:cNvSpPr/>
          <p:nvPr/>
        </p:nvSpPr>
        <p:spPr>
          <a:xfrm>
            <a:off x="1243688" y="2477671"/>
            <a:ext cx="9410329" cy="41395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0000" indent="-27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20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ildir fyrir samsett störf í afgreiðslu og þjónustu hjá afþreyingar- og ferðaþjónustufyrirtækjum. t.d. afgreiðsla hjá bílaleigu, hvalaskoðun, ferjum, söfnum o.fl.</a:t>
            </a:r>
          </a:p>
          <a:p>
            <a:pPr marL="270000" indent="-27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20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eimilt að setja upp vaktir þá eru álög eins og í aðalkjarasamningi 40% um kvöld og helgar og 50% á nóttinni.</a:t>
            </a:r>
          </a:p>
          <a:p>
            <a:pPr marL="270000" indent="-27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20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eimilt að semja um vinnu á helgi- og stórhátíðardögum í ráðningarsamningi en þá kemur vetrarfrí á móti vinnu á þessum dögum. </a:t>
            </a:r>
          </a:p>
          <a:p>
            <a:pPr marL="270000" indent="-27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20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eysluhlé eins og í samningu um gestamóttöku eða 5 mín fyrir hvern unninn klukkutíma.</a:t>
            </a:r>
          </a:p>
          <a:p>
            <a:pPr marL="270000" indent="-27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20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ömu launataxtar og í gestamóttöku. </a:t>
            </a:r>
          </a:p>
          <a:p>
            <a:pPr marL="270000" indent="-27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endParaRPr lang="is-IS" sz="1600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70000" indent="-27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endParaRPr lang="is-IS" sz="1600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70000" indent="-27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endParaRPr lang="is-IS" sz="1600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1631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0333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8" name="Picture 7" descr="A picture containing indoor, reptile&#10;&#10;Description generated with very high confidence">
            <a:extLst>
              <a:ext uri="{FF2B5EF4-FFF2-40B4-BE49-F238E27FC236}">
                <a16:creationId xmlns:a16="http://schemas.microsoft.com/office/drawing/2014/main" id="{94A40CDA-6D62-48AF-ABB7-C785704E32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msett nálgun í fjögurra ára lífskjarasamningi</a:t>
            </a:r>
          </a:p>
        </p:txBody>
      </p:sp>
      <p:sp>
        <p:nvSpPr>
          <p:cNvPr id="30" name="Rectangle 29">
            <a:hlinkClick r:id="rId9" action="ppaction://hlinksldjump"/>
            <a:extLst>
              <a:ext uri="{FF2B5EF4-FFF2-40B4-BE49-F238E27FC236}">
                <a16:creationId xmlns:a16="http://schemas.microsoft.com/office/drawing/2014/main" id="{E4481118-4B77-4934-AD01-3257613F3801}"/>
              </a:ext>
            </a:extLst>
          </p:cNvPr>
          <p:cNvSpPr/>
          <p:nvPr/>
        </p:nvSpPr>
        <p:spPr>
          <a:xfrm>
            <a:off x="3679113" y="1268413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Hærri laun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Sérstök áhersla á kjarabætur tekjulágs launafólks 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49AAB0A-0F57-47D4-85A4-5541A0C054D1}"/>
              </a:ext>
            </a:extLst>
          </p:cNvPr>
          <p:cNvSpPr txBox="1"/>
          <p:nvPr/>
        </p:nvSpPr>
        <p:spPr>
          <a:xfrm>
            <a:off x="3840929" y="1315971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Rectangle 32">
            <a:hlinkClick r:id="rId10" action="ppaction://hlinksldjump"/>
            <a:extLst>
              <a:ext uri="{FF2B5EF4-FFF2-40B4-BE49-F238E27FC236}">
                <a16:creationId xmlns:a16="http://schemas.microsoft.com/office/drawing/2014/main" id="{9A259BB5-62BF-41AC-A34C-13661CFAC990}"/>
              </a:ext>
            </a:extLst>
          </p:cNvPr>
          <p:cNvSpPr/>
          <p:nvPr/>
        </p:nvSpPr>
        <p:spPr>
          <a:xfrm>
            <a:off x="3679113" y="2523804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nn-NO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ukinn sveigjanleiki og meiri frítími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Styttri vinnutími, aukinn frítími og fjölskylduvænni vinnustaður 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DFB252-5970-4F9E-ABB3-9B982C21EE91}"/>
              </a:ext>
            </a:extLst>
          </p:cNvPr>
          <p:cNvSpPr txBox="1"/>
          <p:nvPr/>
        </p:nvSpPr>
        <p:spPr>
          <a:xfrm>
            <a:off x="3840929" y="2571362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Rectangle 37">
            <a:hlinkClick r:id="rId11" action="ppaction://hlinksldjump"/>
            <a:extLst>
              <a:ext uri="{FF2B5EF4-FFF2-40B4-BE49-F238E27FC236}">
                <a16:creationId xmlns:a16="http://schemas.microsoft.com/office/drawing/2014/main" id="{43246A88-0FCE-44BF-8763-894D11A9A7F9}"/>
              </a:ext>
            </a:extLst>
          </p:cNvPr>
          <p:cNvSpPr/>
          <p:nvPr/>
        </p:nvSpPr>
        <p:spPr>
          <a:xfrm>
            <a:off x="3679113" y="3779195"/>
            <a:ext cx="4833775" cy="108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rgbClr val="84772B"/>
                </a:solidFill>
                <a:latin typeface="+mj-lt"/>
                <a:cs typeface="Arial" panose="020B0604020202020204" pitchFamily="34" charset="0"/>
              </a:rPr>
              <a:t>Lægri skattar</a:t>
            </a:r>
            <a:br>
              <a:rPr lang="is-IS" sz="2000" b="1" dirty="0">
                <a:solidFill>
                  <a:srgbClr val="84772B"/>
                </a:solidFill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rgbClr val="84772B"/>
                </a:solidFill>
                <a:latin typeface="+mj-lt"/>
                <a:cs typeface="Arial" panose="020B0604020202020204" pitchFamily="34" charset="0"/>
              </a:rPr>
              <a:t>- Aðgerðir stjórnvalda til að létta undir með tekjulágu launafólki-</a:t>
            </a:r>
            <a:endParaRPr lang="is-IS" sz="2000" i="1" dirty="0">
              <a:solidFill>
                <a:srgbClr val="84772B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885ED-779F-4D85-A959-2BDD48A7E939}"/>
              </a:ext>
            </a:extLst>
          </p:cNvPr>
          <p:cNvSpPr txBox="1"/>
          <p:nvPr/>
        </p:nvSpPr>
        <p:spPr>
          <a:xfrm>
            <a:off x="3840929" y="3826753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84772B"/>
                </a:solidFill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0" name="Rectangle 39">
            <a:hlinkClick r:id="rId12" action="ppaction://hlinksldjump"/>
            <a:extLst>
              <a:ext uri="{FF2B5EF4-FFF2-40B4-BE49-F238E27FC236}">
                <a16:creationId xmlns:a16="http://schemas.microsoft.com/office/drawing/2014/main" id="{105B9D77-50E3-4017-B3A7-59F40598646E}"/>
              </a:ext>
            </a:extLst>
          </p:cNvPr>
          <p:cNvSpPr/>
          <p:nvPr/>
        </p:nvSpPr>
        <p:spPr>
          <a:xfrm>
            <a:off x="3679113" y="5002029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Lægri vextir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Lífskjarasamningur skapar skilyrði til vaxtalækkunar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FFF8BBF-4E8C-41BD-8AE4-4A9072BE2967}"/>
              </a:ext>
            </a:extLst>
          </p:cNvPr>
          <p:cNvSpPr txBox="1"/>
          <p:nvPr/>
        </p:nvSpPr>
        <p:spPr>
          <a:xfrm>
            <a:off x="3840929" y="5049587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065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DC1FEDD-2651-4067-B2D8-A5CCA9608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628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13" imgW="347" imgH="348" progId="TCLayout.ActiveDocument.1">
                  <p:embed/>
                </p:oleObj>
              </mc:Choice>
              <mc:Fallback>
                <p:oleObj name="think-cell Slide" r:id="rId1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DC1FEDD-2651-4067-B2D8-A5CCA9608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71465C-0F8C-438A-89F0-D7D2B9F838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221CA2-254D-448D-B0C3-AE88FFC17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Aðgerðir stjórnvalda: </a:t>
            </a:r>
            <a:r>
              <a:rPr lang="is-IS" dirty="0">
                <a:solidFill>
                  <a:schemeClr val="tx2"/>
                </a:solidFill>
              </a:rPr>
              <a:t>Skattar lækkaðir með sérstaka áherslu á tekjulága hóp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16FD745-05E9-47E3-A70E-E41030A9F4DE}"/>
              </a:ext>
            </a:extLst>
          </p:cNvPr>
          <p:cNvGrpSpPr/>
          <p:nvPr/>
        </p:nvGrpSpPr>
        <p:grpSpPr>
          <a:xfrm>
            <a:off x="2667000" y="1276350"/>
            <a:ext cx="6864350" cy="419100"/>
            <a:chOff x="2514600" y="1276350"/>
            <a:chExt cx="7740650" cy="419100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56BEDEE-993A-414C-A982-FF35C0F8CC5B}"/>
                </a:ext>
              </a:extLst>
            </p:cNvPr>
            <p:cNvSpPr txBox="1"/>
            <p:nvPr/>
          </p:nvSpPr>
          <p:spPr>
            <a:xfrm>
              <a:off x="2514600" y="1276350"/>
              <a:ext cx="774065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</a:pPr>
              <a:r>
                <a:rPr lang="is-IS" sz="1400" b="1" dirty="0">
                  <a:solidFill>
                    <a:schemeClr val="accent3"/>
                  </a:solidFill>
                </a:rPr>
                <a:t>Ábati skattkerfisbreytinga á ráðstöfunartekjur</a:t>
              </a:r>
            </a:p>
            <a:p>
              <a:pPr>
                <a:buClr>
                  <a:schemeClr val="accent6"/>
                </a:buClr>
              </a:pPr>
              <a:r>
                <a:rPr lang="is-IS" sz="12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Krónur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8501D34-BAB9-44BF-BD23-D0237E21BAEA}"/>
                </a:ext>
              </a:extLst>
            </p:cNvPr>
            <p:cNvCxnSpPr>
              <a:cxnSpLocks/>
            </p:cNvCxnSpPr>
            <p:nvPr/>
          </p:nvCxnSpPr>
          <p:spPr>
            <a:xfrm>
              <a:off x="2514600" y="1695450"/>
              <a:ext cx="7740650" cy="0"/>
            </a:xfrm>
            <a:prstGeom prst="line">
              <a:avLst/>
            </a:prstGeom>
            <a:ln w="3175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AA854D08-D4EF-4257-9C03-C28DA2693F7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34187700"/>
              </p:ext>
            </p:extLst>
          </p:nvPr>
        </p:nvGraphicFramePr>
        <p:xfrm>
          <a:off x="2173288" y="2171700"/>
          <a:ext cx="2770187" cy="3562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 useBgFill="1">
        <p:nvSpPr>
          <p:cNvPr id="11" name="Freeform: Shape 10">
            <a:extLst>
              <a:ext uri="{FF2B5EF4-FFF2-40B4-BE49-F238E27FC236}">
                <a16:creationId xmlns:a16="http://schemas.microsoft.com/office/drawing/2014/main" id="{36A39AB7-8B48-4932-9A6C-5C57D31D8B9C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001963" y="5270500"/>
            <a:ext cx="1111250" cy="355601"/>
          </a:xfrm>
          <a:custGeom>
            <a:avLst/>
            <a:gdLst/>
            <a:ahLst/>
            <a:cxnLst/>
            <a:rect l="0" t="0" r="0" b="0"/>
            <a:pathLst>
              <a:path w="1111251" h="355601">
                <a:moveTo>
                  <a:pt x="0" y="298450"/>
                </a:moveTo>
                <a:lnTo>
                  <a:pt x="1111250" y="0"/>
                </a:lnTo>
                <a:lnTo>
                  <a:pt x="1111250" y="57150"/>
                </a:lnTo>
                <a:lnTo>
                  <a:pt x="0" y="3556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DDD7619-C290-4440-B839-7929D18215F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001963" y="5270500"/>
            <a:ext cx="1111250" cy="298451"/>
          </a:xfrm>
          <a:custGeom>
            <a:avLst/>
            <a:gdLst/>
            <a:ahLst/>
            <a:cxnLst/>
            <a:rect l="0" t="0" r="0" b="0"/>
            <a:pathLst>
              <a:path w="1111251" h="298451">
                <a:moveTo>
                  <a:pt x="0" y="298450"/>
                </a:moveTo>
                <a:lnTo>
                  <a:pt x="11112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E65DA44-74D7-4937-B22B-501E891327F5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001963" y="5327650"/>
            <a:ext cx="1111250" cy="298451"/>
          </a:xfrm>
          <a:custGeom>
            <a:avLst/>
            <a:gdLst/>
            <a:ahLst/>
            <a:cxnLst/>
            <a:rect l="0" t="0" r="0" b="0"/>
            <a:pathLst>
              <a:path w="1111251" h="298451">
                <a:moveTo>
                  <a:pt x="0" y="298450"/>
                </a:moveTo>
                <a:lnTo>
                  <a:pt x="11112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D0F14939-2446-416C-9F3C-ACA91CC421C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855913" y="5710238"/>
            <a:ext cx="1404938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B8AB55-9AF2-4271-AFED-30F9DBE6B339}" type="datetime'Áh''rif ''skatt''kerf''''isbr''eyt''''''''inga á ''tekju''r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Áhrif skattkerfisbreytinga á tekjur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7E24C9B7-2A3E-4F59-9CF0-55487C3FB47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195763" y="3889375"/>
            <a:ext cx="1530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is-IS" altLang="en-US" b="1" dirty="0">
                <a:solidFill>
                  <a:schemeClr val="accent5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t>Áður kynntar</a:t>
            </a:r>
            <a:br>
              <a:rPr lang="is-IS" altLang="en-US" b="1" dirty="0">
                <a:solidFill>
                  <a:schemeClr val="accent5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</a:br>
            <a:r>
              <a:rPr lang="is-IS" altLang="en-US" b="1" dirty="0">
                <a:solidFill>
                  <a:schemeClr val="accent5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t>skattkerfisbreytingar</a:t>
            </a:r>
            <a:endParaRPr lang="is-IS" b="1" dirty="0">
              <a:solidFill>
                <a:schemeClr val="accent5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AC92EC5D-9434-44C5-86EF-1E4B0C985A0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284538" y="2016126"/>
            <a:ext cx="5476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is-IS" altLang="en-US" dirty="0"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t>10.000</a:t>
            </a: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067568BB-0E76-456E-9932-3542C49EDC8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95763" y="2500313"/>
            <a:ext cx="12160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11E4FE-CF3C-4962-8EE8-8732A1E4A2F6}" type="datetime'''Að''''''''r''''''ar'''' br''e''y''t''ing''''''''''a''r'''">
              <a:rPr lang="is-IS" altLang="en-US" b="1" smtClean="0">
                <a:solidFill>
                  <a:schemeClr val="accent3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ðrar breytingar</a:t>
            </a:fld>
            <a:endParaRPr lang="is-IS" b="1" dirty="0">
              <a:solidFill>
                <a:schemeClr val="accent3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C60BB9D-855B-4B52-9A13-52FA0E3E52F7}"/>
              </a:ext>
            </a:extLst>
          </p:cNvPr>
          <p:cNvCxnSpPr/>
          <p:nvPr/>
        </p:nvCxnSpPr>
        <p:spPr>
          <a:xfrm>
            <a:off x="4195763" y="2991805"/>
            <a:ext cx="5400675" cy="0"/>
          </a:xfrm>
          <a:prstGeom prst="line">
            <a:avLst/>
          </a:prstGeom>
          <a:ln w="3175">
            <a:solidFill>
              <a:schemeClr val="tx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9F8F5C9B-EA4B-47B0-8C64-126699270443}"/>
              </a:ext>
            </a:extLst>
          </p:cNvPr>
          <p:cNvCxnSpPr/>
          <p:nvPr/>
        </p:nvCxnSpPr>
        <p:spPr>
          <a:xfrm>
            <a:off x="4195763" y="5271656"/>
            <a:ext cx="5400675" cy="0"/>
          </a:xfrm>
          <a:prstGeom prst="line">
            <a:avLst/>
          </a:prstGeom>
          <a:ln w="3175">
            <a:solidFill>
              <a:schemeClr val="tx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6" name="TextBox 125">
            <a:extLst>
              <a:ext uri="{FF2B5EF4-FFF2-40B4-BE49-F238E27FC236}">
                <a16:creationId xmlns:a16="http://schemas.microsoft.com/office/drawing/2014/main" id="{4794455B-EDDA-4938-94BB-0E5C394660DB}"/>
              </a:ext>
            </a:extLst>
          </p:cNvPr>
          <p:cNvSpPr txBox="1"/>
          <p:nvPr/>
        </p:nvSpPr>
        <p:spPr>
          <a:xfrm>
            <a:off x="6032500" y="2419169"/>
            <a:ext cx="349885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Viðbótarskattbreytingar stjórnvalda til að liðka fyrir kjarasamningsgerð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D23050A4-903C-4B20-9C33-BA265233995A}"/>
              </a:ext>
            </a:extLst>
          </p:cNvPr>
          <p:cNvSpPr txBox="1"/>
          <p:nvPr/>
        </p:nvSpPr>
        <p:spPr>
          <a:xfrm>
            <a:off x="6032500" y="3664911"/>
            <a:ext cx="3498850" cy="8925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Komið verður á fót þriggja þrepa skattkerfi.</a:t>
            </a:r>
          </a:p>
          <a:p>
            <a:pPr marL="171450" indent="-17145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Mánaðarlaun við enda fyrstu þrepamarka m.v. 4% skylduframlag í lífeyrissjóð eru 343.984 kr.</a:t>
            </a:r>
          </a:p>
          <a:p>
            <a:pPr marL="171450" indent="-17145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Ábati þeirra mánaðarlauna yrði alls 10 þ. kr.. </a:t>
            </a:r>
          </a:p>
        </p:txBody>
      </p:sp>
      <p:sp>
        <p:nvSpPr>
          <p:cNvPr id="22" name="Speech Bubble: Oval 21">
            <a:extLst>
              <a:ext uri="{FF2B5EF4-FFF2-40B4-BE49-F238E27FC236}">
                <a16:creationId xmlns:a16="http://schemas.microsoft.com/office/drawing/2014/main" id="{04BBD2D2-081B-4FD0-B55E-C04AEC1FAD1A}"/>
              </a:ext>
            </a:extLst>
          </p:cNvPr>
          <p:cNvSpPr/>
          <p:nvPr/>
        </p:nvSpPr>
        <p:spPr>
          <a:xfrm>
            <a:off x="540000" y="2713038"/>
            <a:ext cx="2423143" cy="1363661"/>
          </a:xfrm>
          <a:prstGeom prst="wedgeEllipseCallout">
            <a:avLst>
              <a:gd name="adj1" fmla="val 62514"/>
              <a:gd name="adj2" fmla="val -87705"/>
            </a:avLst>
          </a:prstGeom>
          <a:solidFill>
            <a:schemeClr val="bg1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5CCAD79-3A3B-4D99-8A0E-34114D2366DE}"/>
              </a:ext>
            </a:extLst>
          </p:cNvPr>
          <p:cNvSpPr/>
          <p:nvPr/>
        </p:nvSpPr>
        <p:spPr>
          <a:xfrm>
            <a:off x="768750" y="2963981"/>
            <a:ext cx="196564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10.000 kr. í fyrirhugaðar skattalækkanir er ígildi </a:t>
            </a:r>
            <a: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15.900 kr. launahækkunar fyrir skatt</a:t>
            </a:r>
          </a:p>
        </p:txBody>
      </p:sp>
    </p:spTree>
    <p:extLst>
      <p:ext uri="{BB962C8B-B14F-4D97-AF65-F5344CB8AC3E}">
        <p14:creationId xmlns:p14="http://schemas.microsoft.com/office/powerpoint/2010/main" val="1400270386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CE46AA3-02EE-4B29-8CB0-119E0C56B5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442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16" imgW="359" imgH="358" progId="TCLayout.ActiveDocument.1">
                  <p:embed/>
                </p:oleObj>
              </mc:Choice>
              <mc:Fallback>
                <p:oleObj name="think-cell Slide" r:id="rId16" imgW="359" imgH="35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CE46AA3-02EE-4B29-8CB0-119E0C56B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F29040DD-5F62-4ED0-8BCF-51ED6FDC71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7DB0FBA-6E6A-4587-A805-140E67FF2500}"/>
              </a:ext>
            </a:extLst>
          </p:cNvPr>
          <p:cNvSpPr/>
          <p:nvPr/>
        </p:nvSpPr>
        <p:spPr>
          <a:xfrm>
            <a:off x="2617788" y="1444598"/>
            <a:ext cx="3240088" cy="479269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4A50D82-8251-4F9A-827A-08C2CE7D3F45}"/>
              </a:ext>
            </a:extLst>
          </p:cNvPr>
          <p:cNvSpPr/>
          <p:nvPr/>
        </p:nvSpPr>
        <p:spPr>
          <a:xfrm>
            <a:off x="6342063" y="1444598"/>
            <a:ext cx="3240088" cy="479269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56208AEB-D24E-4470-B963-60AF8DD93CB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66987428"/>
              </p:ext>
            </p:extLst>
          </p:nvPr>
        </p:nvGraphicFramePr>
        <p:xfrm>
          <a:off x="2794000" y="3225800"/>
          <a:ext cx="2876550" cy="1733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 useBgFill="1">
        <p:nvSpPr>
          <p:cNvPr id="138" name="Text Placeholder 2">
            <a:extLst>
              <a:ext uri="{FF2B5EF4-FFF2-40B4-BE49-F238E27FC236}">
                <a16:creationId xmlns:a16="http://schemas.microsoft.com/office/drawing/2014/main" id="{86F38376-FC9A-403F-9B8A-F485FD19A16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019675" y="4768850"/>
            <a:ext cx="231775" cy="212725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9D562A-6DD5-44AB-90B1-51BEC60209A4}" type="datetime'''1''''''''''''''''''7''''''''''''''''''''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CBEA3E8-A46D-4F37-9A72-E3FFCFAD358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028950" y="5040313"/>
            <a:ext cx="5984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9FB862-F86C-4CF8-9C37-469FCB34AF12}" type="datetime'''''3''00''''''''''.''00''''''0''''''''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0.000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039FFF5C-3CCE-4AF4-8AB0-F6202EAB9D7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932238" y="5040313"/>
            <a:ext cx="5984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09BAB4-B6D3-481C-927A-6CBF01627361}" type="datetime'''''''5''''''''''0''''''''''''0.00''''''''''0''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0.000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E78D65F-6983-4841-8D44-FF8B626B330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37113" y="5040313"/>
            <a:ext cx="5984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EE054A-C3FA-45F3-83E2-801C6225217B}" type="datetime'''''''''''9''0''''''''''''''''''''0''.''''''''0''''0''''0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00.000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EDB04291-7295-4AF2-977E-1D33B31A6567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29875036"/>
              </p:ext>
            </p:extLst>
          </p:nvPr>
        </p:nvGraphicFramePr>
        <p:xfrm>
          <a:off x="6345238" y="3225800"/>
          <a:ext cx="3222625" cy="1733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EC30499A-404E-4FBE-AA4C-B885D49C2F8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591425" y="5041900"/>
            <a:ext cx="7318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9E8074-C9F6-48C6-A90B-B094D16D91F1}" type="datetime'''''''''1.0''''''''''0''0''''''''''''''''''''.''0''''00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000.000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182C28B7-3A7B-4C0D-965F-5E1456282A3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754813" y="5041900"/>
            <a:ext cx="5984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146DCF-67E1-4122-8970-E2AC0D3FCD0D}" type="datetime'''''''6''0''''''''0''''''''''''.''''0''''''''''''''''00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0.000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 useBgFill="1">
        <p:nvSpPr>
          <p:cNvPr id="153" name="Text Placeholder 2">
            <a:extLst>
              <a:ext uri="{FF2B5EF4-FFF2-40B4-BE49-F238E27FC236}">
                <a16:creationId xmlns:a16="http://schemas.microsoft.com/office/drawing/2014/main" id="{E599CC8C-4F34-467B-B17F-110691C8E61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789988" y="4770438"/>
            <a:ext cx="141288" cy="212725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FE544F-DEDC-4C38-88CF-62FF6E711814}" type="datetime'''''''''''''''''''''''''''''''0'''''''''''">
              <a:rPr lang="is-IS" altLang="en-US" smtClean="0"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is-IS" dirty="0"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7D761937-95E7-423F-8618-0EA4BB356E6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494713" y="5041900"/>
            <a:ext cx="7318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C63F41-5FE4-43BE-84DD-4762E0D8DD09}" type="datetime'''''''''1''''.''''''8''00''.0''''0''0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00.000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438B19D2-054A-4C46-8ED8-6A361EDC2ECB}"/>
              </a:ext>
            </a:extLst>
          </p:cNvPr>
          <p:cNvSpPr txBox="1"/>
          <p:nvPr/>
        </p:nvSpPr>
        <p:spPr>
          <a:xfrm>
            <a:off x="3011488" y="1892754"/>
            <a:ext cx="2452688" cy="4924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is-IS" b="1" dirty="0">
                <a:solidFill>
                  <a:schemeClr val="accent5"/>
                </a:solidFill>
              </a:rPr>
              <a:t>Einstætt foreldri</a:t>
            </a:r>
            <a:br>
              <a:rPr lang="is-IS" b="1" dirty="0">
                <a:solidFill>
                  <a:schemeClr val="accent5"/>
                </a:solidFill>
              </a:rPr>
            </a:br>
            <a:r>
              <a:rPr lang="is-IS" sz="14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með 2 börn, annað yngra en 7 ára</a:t>
            </a:r>
            <a:endParaRPr lang="is-IS" i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2F914EB-A8D0-4DA8-86FC-3A42FBD9F216}"/>
              </a:ext>
            </a:extLst>
          </p:cNvPr>
          <p:cNvSpPr txBox="1"/>
          <p:nvPr/>
        </p:nvSpPr>
        <p:spPr>
          <a:xfrm>
            <a:off x="6735763" y="1892754"/>
            <a:ext cx="2452688" cy="4924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is-IS" b="1" dirty="0">
                <a:solidFill>
                  <a:schemeClr val="accent6"/>
                </a:solidFill>
              </a:rPr>
              <a:t>Foreldrar í sambúð</a:t>
            </a:r>
            <a:br>
              <a:rPr lang="is-IS" b="1" dirty="0">
                <a:solidFill>
                  <a:schemeClr val="accent3"/>
                </a:solidFill>
              </a:rPr>
            </a:br>
            <a:r>
              <a:rPr lang="is-IS" sz="14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með 2 börn, annað yngra en 7 ára</a:t>
            </a:r>
            <a:endParaRPr lang="is-IS" i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7" name="Graphic 6" descr="Family with two children">
            <a:extLst>
              <a:ext uri="{FF2B5EF4-FFF2-40B4-BE49-F238E27FC236}">
                <a16:creationId xmlns:a16="http://schemas.microsoft.com/office/drawing/2014/main" id="{EE8E2920-0DE7-4F61-A6C7-5E5E67AF9FD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435850" y="878832"/>
            <a:ext cx="1050925" cy="1050925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72CBAC4D-F97D-43CE-AC3F-245766F38E0F}"/>
              </a:ext>
            </a:extLst>
          </p:cNvPr>
          <p:cNvGrpSpPr/>
          <p:nvPr/>
        </p:nvGrpSpPr>
        <p:grpSpPr>
          <a:xfrm>
            <a:off x="2887662" y="2681406"/>
            <a:ext cx="2782887" cy="400110"/>
            <a:chOff x="1015689" y="2681406"/>
            <a:chExt cx="5935516" cy="400110"/>
          </a:xfrm>
        </p:grpSpPr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96DC287-80DD-476C-BF48-6D732EC23587}"/>
                </a:ext>
              </a:extLst>
            </p:cNvPr>
            <p:cNvSpPr txBox="1"/>
            <p:nvPr/>
          </p:nvSpPr>
          <p:spPr>
            <a:xfrm>
              <a:off x="1015689" y="2681406"/>
              <a:ext cx="5935516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</a:pPr>
              <a:r>
                <a:rPr lang="is-IS" sz="1400" b="1" dirty="0">
                  <a:solidFill>
                    <a:schemeClr val="accent3"/>
                  </a:solidFill>
                </a:rPr>
                <a:t>Hækkun barnabóta</a:t>
              </a:r>
            </a:p>
            <a:p>
              <a:pPr>
                <a:buClr>
                  <a:schemeClr val="accent6"/>
                </a:buClr>
              </a:pPr>
              <a:r>
                <a:rPr lang="is-IS" sz="12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Krónur m.v mánaðartekjur einstæðs foreldris</a:t>
              </a: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B5B0254A-8E3B-4845-87D3-0556DBC37E6C}"/>
                </a:ext>
              </a:extLst>
            </p:cNvPr>
            <p:cNvCxnSpPr>
              <a:cxnSpLocks/>
            </p:cNvCxnSpPr>
            <p:nvPr/>
          </p:nvCxnSpPr>
          <p:spPr>
            <a:xfrm>
              <a:off x="1015691" y="3081516"/>
              <a:ext cx="5759450" cy="0"/>
            </a:xfrm>
            <a:prstGeom prst="line">
              <a:avLst/>
            </a:prstGeom>
            <a:ln w="3175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3B6DC873-407F-41D7-A6A3-B36278929136}"/>
              </a:ext>
            </a:extLst>
          </p:cNvPr>
          <p:cNvGrpSpPr/>
          <p:nvPr/>
        </p:nvGrpSpPr>
        <p:grpSpPr>
          <a:xfrm>
            <a:off x="6611938" y="2681406"/>
            <a:ext cx="2700338" cy="400110"/>
            <a:chOff x="1015691" y="2681406"/>
            <a:chExt cx="5759450" cy="400110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38D01BE1-5AFB-4FB4-ABEA-940C36D48246}"/>
                </a:ext>
              </a:extLst>
            </p:cNvPr>
            <p:cNvSpPr txBox="1"/>
            <p:nvPr/>
          </p:nvSpPr>
          <p:spPr>
            <a:xfrm>
              <a:off x="1015691" y="2681406"/>
              <a:ext cx="575945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</a:pPr>
              <a:r>
                <a:rPr lang="is-IS" sz="1400" b="1" dirty="0">
                  <a:solidFill>
                    <a:schemeClr val="accent3"/>
                  </a:solidFill>
                </a:rPr>
                <a:t>Hækkun barnabóta</a:t>
              </a:r>
            </a:p>
            <a:p>
              <a:pPr>
                <a:buClr>
                  <a:schemeClr val="accent6"/>
                </a:buClr>
              </a:pPr>
              <a:r>
                <a:rPr lang="is-IS" sz="12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Krónur m.v mánaðartekjur foreldra</a:t>
              </a:r>
            </a:p>
          </p:txBody>
        </p: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FC6FA483-BB24-42F6-A86E-DCE0B7AF33B7}"/>
                </a:ext>
              </a:extLst>
            </p:cNvPr>
            <p:cNvCxnSpPr>
              <a:cxnSpLocks/>
            </p:cNvCxnSpPr>
            <p:nvPr/>
          </p:nvCxnSpPr>
          <p:spPr>
            <a:xfrm>
              <a:off x="1015691" y="3081516"/>
              <a:ext cx="5759450" cy="0"/>
            </a:xfrm>
            <a:prstGeom prst="line">
              <a:avLst/>
            </a:prstGeom>
            <a:ln w="3175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EA965B12-07CD-4450-9F58-F88F159B5582}"/>
              </a:ext>
            </a:extLst>
          </p:cNvPr>
          <p:cNvSpPr txBox="1"/>
          <p:nvPr/>
        </p:nvSpPr>
        <p:spPr>
          <a:xfrm>
            <a:off x="2981162" y="5433816"/>
            <a:ext cx="2483014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Barnabætur hafa hækkað um allt að </a:t>
            </a:r>
            <a: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9.500 kr. </a:t>
            </a: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á mánuði fyrir einstætt foreldri 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E58761FD-3773-491F-A1F8-50534DB8C239}"/>
              </a:ext>
            </a:extLst>
          </p:cNvPr>
          <p:cNvSpPr txBox="1"/>
          <p:nvPr/>
        </p:nvSpPr>
        <p:spPr>
          <a:xfrm>
            <a:off x="6715043" y="5433816"/>
            <a:ext cx="2483014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Barnabætur hafa hækkað um allt að </a:t>
            </a:r>
            <a:r>
              <a:rPr lang="is-IS" sz="1400" b="1" dirty="0">
                <a:solidFill>
                  <a:schemeClr val="accent6"/>
                </a:solidFill>
                <a:latin typeface="+mj-lt"/>
                <a:cs typeface="Calibri Light" panose="020F0302020204030204" pitchFamily="34" charset="0"/>
              </a:rPr>
              <a:t>14.000 kr.</a:t>
            </a:r>
            <a: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á mánuði fyrir foreldra í sambúð</a:t>
            </a:r>
          </a:p>
        </p:txBody>
      </p:sp>
      <p:sp>
        <p:nvSpPr>
          <p:cNvPr id="57" name="Speech Bubble: Oval 56">
            <a:extLst>
              <a:ext uri="{FF2B5EF4-FFF2-40B4-BE49-F238E27FC236}">
                <a16:creationId xmlns:a16="http://schemas.microsoft.com/office/drawing/2014/main" id="{B7C18E59-5DE1-41DA-A287-8E2FEFD5E39D}"/>
              </a:ext>
            </a:extLst>
          </p:cNvPr>
          <p:cNvSpPr/>
          <p:nvPr/>
        </p:nvSpPr>
        <p:spPr>
          <a:xfrm>
            <a:off x="539749" y="2778915"/>
            <a:ext cx="2166938" cy="1371882"/>
          </a:xfrm>
          <a:prstGeom prst="wedgeEllipseCallout">
            <a:avLst>
              <a:gd name="adj1" fmla="val 71753"/>
              <a:gd name="adj2" fmla="val 36965"/>
            </a:avLst>
          </a:prstGeom>
          <a:solidFill>
            <a:schemeClr val="bg1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C39936E-2C4E-44C8-BEAE-661886DC3F35}"/>
              </a:ext>
            </a:extLst>
          </p:cNvPr>
          <p:cNvSpPr/>
          <p:nvPr/>
        </p:nvSpPr>
        <p:spPr>
          <a:xfrm>
            <a:off x="615552" y="3033969"/>
            <a:ext cx="201533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9.500 kr. hækkun</a:t>
            </a:r>
            <a:b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barnabóta er ígildi </a:t>
            </a:r>
            <a:b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15.000 kr. launahækkunar</a:t>
            </a:r>
            <a:b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</a:br>
            <a: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fyrir skatt</a:t>
            </a:r>
          </a:p>
        </p:txBody>
      </p:sp>
      <p:sp>
        <p:nvSpPr>
          <p:cNvPr id="61" name="Speech Bubble: Oval 60">
            <a:extLst>
              <a:ext uri="{FF2B5EF4-FFF2-40B4-BE49-F238E27FC236}">
                <a16:creationId xmlns:a16="http://schemas.microsoft.com/office/drawing/2014/main" id="{80994974-BDDF-4B24-BAD5-9E7ED3BE7370}"/>
              </a:ext>
            </a:extLst>
          </p:cNvPr>
          <p:cNvSpPr/>
          <p:nvPr/>
        </p:nvSpPr>
        <p:spPr>
          <a:xfrm>
            <a:off x="9312276" y="2778915"/>
            <a:ext cx="2166938" cy="1371882"/>
          </a:xfrm>
          <a:prstGeom prst="wedgeEllipseCallout">
            <a:avLst>
              <a:gd name="adj1" fmla="val -137758"/>
              <a:gd name="adj2" fmla="val 41804"/>
            </a:avLst>
          </a:prstGeom>
          <a:solidFill>
            <a:schemeClr val="bg1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3A7234A-8EF5-4ED6-9CC2-467DF1DDFF0D}"/>
              </a:ext>
            </a:extLst>
          </p:cNvPr>
          <p:cNvSpPr/>
          <p:nvPr/>
        </p:nvSpPr>
        <p:spPr>
          <a:xfrm>
            <a:off x="9399590" y="3033969"/>
            <a:ext cx="199231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14.000 kr. hækkun barnabóta er ígildi</a:t>
            </a:r>
            <a:b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b="1" dirty="0">
                <a:solidFill>
                  <a:schemeClr val="accent6"/>
                </a:solidFill>
                <a:latin typeface="+mj-lt"/>
                <a:cs typeface="Calibri Light" panose="020F0302020204030204" pitchFamily="34" charset="0"/>
              </a:rPr>
              <a:t>22.000 kr. launahækkunar</a:t>
            </a:r>
            <a:br>
              <a:rPr lang="is-IS" sz="1400" b="1" dirty="0">
                <a:solidFill>
                  <a:schemeClr val="accent6"/>
                </a:solidFill>
                <a:latin typeface="+mj-lt"/>
                <a:cs typeface="Calibri Light" panose="020F0302020204030204" pitchFamily="34" charset="0"/>
              </a:rPr>
            </a:br>
            <a:r>
              <a:rPr lang="is-IS" sz="1400" b="1" dirty="0">
                <a:solidFill>
                  <a:schemeClr val="accent6"/>
                </a:solidFill>
                <a:latin typeface="+mj-lt"/>
                <a:cs typeface="Calibri Light" panose="020F0302020204030204" pitchFamily="34" charset="0"/>
              </a:rPr>
              <a:t>fyrir skatt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DD1A53D-C4B6-4CBB-9379-80CDADFBD898}"/>
              </a:ext>
            </a:extLst>
          </p:cNvPr>
          <p:cNvGrpSpPr/>
          <p:nvPr/>
        </p:nvGrpSpPr>
        <p:grpSpPr>
          <a:xfrm>
            <a:off x="3823889" y="896938"/>
            <a:ext cx="895749" cy="1050924"/>
            <a:chOff x="3753246" y="896938"/>
            <a:chExt cx="895749" cy="1050924"/>
          </a:xfrm>
        </p:grpSpPr>
        <p:pic>
          <p:nvPicPr>
            <p:cNvPr id="64" name="Graphic 63" descr="Parent and Child">
              <a:extLst>
                <a:ext uri="{FF2B5EF4-FFF2-40B4-BE49-F238E27FC236}">
                  <a16:creationId xmlns:a16="http://schemas.microsoft.com/office/drawing/2014/main" id="{5A3976A7-C39C-491A-9794-E050FE7E01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3826670" y="992768"/>
              <a:ext cx="822325" cy="822325"/>
            </a:xfrm>
            <a:prstGeom prst="rect">
              <a:avLst/>
            </a:prstGeom>
          </p:spPr>
        </p:pic>
        <p:pic>
          <p:nvPicPr>
            <p:cNvPr id="68" name="Graphic 67" descr="Family with two children">
              <a:extLst>
                <a:ext uri="{FF2B5EF4-FFF2-40B4-BE49-F238E27FC236}">
                  <a16:creationId xmlns:a16="http://schemas.microsoft.com/office/drawing/2014/main" id="{3A9E93C2-A62F-45E0-808D-96452E782E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rcRect l="74207"/>
            <a:stretch/>
          </p:blipFill>
          <p:spPr>
            <a:xfrm flipH="1">
              <a:off x="3753246" y="896938"/>
              <a:ext cx="271066" cy="1050924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6F3EA697-BFDD-48FE-AAE2-1A77215CDF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rgbClr val="39488E"/>
                </a:solidFill>
              </a:rPr>
              <a:t>Aðgerðir stjórnvalda: </a:t>
            </a:r>
            <a:r>
              <a:rPr lang="is-IS" dirty="0">
                <a:solidFill>
                  <a:schemeClr val="tx2"/>
                </a:solidFill>
              </a:rPr>
              <a:t>Barnabætur hækkaðar og skerðingarmörk þeirra hækki</a:t>
            </a:r>
          </a:p>
        </p:txBody>
      </p:sp>
    </p:spTree>
    <p:extLst>
      <p:ext uri="{BB962C8B-B14F-4D97-AF65-F5344CB8AC3E}">
        <p14:creationId xmlns:p14="http://schemas.microsoft.com/office/powerpoint/2010/main" val="4191308220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DC1FEDD-2651-4067-B2D8-A5CCA9608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9215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DC1FEDD-2651-4067-B2D8-A5CCA9608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71465C-0F8C-438A-89F0-D7D2B9F838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221CA2-254D-448D-B0C3-AE88FFC17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Aðrar aðgerðir stjórnvalda til að liðka fyrir kjarasamningsgerð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CCA6058-5716-4035-B35F-9027B5A951AC}"/>
              </a:ext>
            </a:extLst>
          </p:cNvPr>
          <p:cNvSpPr/>
          <p:nvPr/>
        </p:nvSpPr>
        <p:spPr>
          <a:xfrm>
            <a:off x="9033608" y="1699490"/>
            <a:ext cx="2520000" cy="3960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D0BF002-A4AC-4BAC-9A59-81BC41B5ABD8}"/>
              </a:ext>
            </a:extLst>
          </p:cNvPr>
          <p:cNvSpPr/>
          <p:nvPr/>
        </p:nvSpPr>
        <p:spPr>
          <a:xfrm>
            <a:off x="9033608" y="1699490"/>
            <a:ext cx="2520000" cy="360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s-IS" sz="1400" b="1" dirty="0">
                <a:solidFill>
                  <a:schemeClr val="accent3"/>
                </a:solidFill>
              </a:rPr>
              <a:t>Fjármálaætlun 2020-202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154F4B1-07D6-4261-BAC1-0A23F67B58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10118" y="2275710"/>
            <a:ext cx="1366980" cy="184476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CE7820D-A62C-4E17-8E31-19696B67437E}"/>
              </a:ext>
            </a:extLst>
          </p:cNvPr>
          <p:cNvSpPr txBox="1"/>
          <p:nvPr/>
        </p:nvSpPr>
        <p:spPr>
          <a:xfrm>
            <a:off x="9209098" y="4244106"/>
            <a:ext cx="2198255" cy="9387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Lenging fæðingar orlofs í 12 mánuði</a:t>
            </a:r>
          </a:p>
          <a:p>
            <a:pPr marL="180000" indent="-18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Hækkun stofnframlaga til félagslegs húsnæði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F175391-D91A-45F8-A35C-7F4F5E7C8443}"/>
              </a:ext>
            </a:extLst>
          </p:cNvPr>
          <p:cNvSpPr/>
          <p:nvPr/>
        </p:nvSpPr>
        <p:spPr>
          <a:xfrm>
            <a:off x="6225353" y="1699490"/>
            <a:ext cx="2520000" cy="3960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6972B67-5AF4-410E-871C-A5CC1FF74E35}"/>
              </a:ext>
            </a:extLst>
          </p:cNvPr>
          <p:cNvSpPr/>
          <p:nvPr/>
        </p:nvSpPr>
        <p:spPr>
          <a:xfrm>
            <a:off x="6225353" y="1699490"/>
            <a:ext cx="2520000" cy="360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s-IS" sz="1400" b="1" dirty="0">
                <a:solidFill>
                  <a:schemeClr val="accent3"/>
                </a:solidFill>
              </a:rPr>
              <a:t>Barist gegn kennitöluflakki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F9AEE46-9D9D-4A5A-8237-221A259AA0DB}"/>
              </a:ext>
            </a:extLst>
          </p:cNvPr>
          <p:cNvSpPr txBox="1"/>
          <p:nvPr/>
        </p:nvSpPr>
        <p:spPr>
          <a:xfrm>
            <a:off x="6400843" y="4244106"/>
            <a:ext cx="2198255" cy="136960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Frumvarp til að sporna gegn kennitöluflakki lagt fram.</a:t>
            </a:r>
          </a:p>
          <a:p>
            <a:pPr marL="180000" indent="-18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Aðgerðir gegn félagslegum undirboðum og brotastarfsemi á vinnumarkaði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24EC63D-E0C7-4676-B722-59B4473FEB50}"/>
              </a:ext>
            </a:extLst>
          </p:cNvPr>
          <p:cNvSpPr/>
          <p:nvPr/>
        </p:nvSpPr>
        <p:spPr>
          <a:xfrm>
            <a:off x="3424407" y="1699490"/>
            <a:ext cx="2520000" cy="3960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377003A-5B38-4CEB-851F-49B7B2073985}"/>
              </a:ext>
            </a:extLst>
          </p:cNvPr>
          <p:cNvSpPr/>
          <p:nvPr/>
        </p:nvSpPr>
        <p:spPr>
          <a:xfrm>
            <a:off x="3424407" y="1699490"/>
            <a:ext cx="2520000" cy="360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s-IS" sz="1400" b="1" dirty="0">
                <a:solidFill>
                  <a:schemeClr val="accent3"/>
                </a:solidFill>
              </a:rPr>
              <a:t>Átakshópur í húsnæðismálu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7FC5832-2ED6-4795-A688-BFFCF66518E7}"/>
              </a:ext>
            </a:extLst>
          </p:cNvPr>
          <p:cNvSpPr txBox="1"/>
          <p:nvPr/>
        </p:nvSpPr>
        <p:spPr>
          <a:xfrm>
            <a:off x="3599897" y="4244106"/>
            <a:ext cx="2198255" cy="130805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Efla félagslega húsnæðiskerfið</a:t>
            </a:r>
          </a:p>
          <a:p>
            <a:pPr marL="180000" indent="-18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Aukin leiguvernd</a:t>
            </a:r>
          </a:p>
          <a:p>
            <a:pPr marL="180000" indent="-18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Hraðari uppbygging</a:t>
            </a:r>
          </a:p>
          <a:p>
            <a:pPr marL="180000" indent="-18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Ráðstöfun ríkislóða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80E461EC-1EFE-4539-8C3E-110584DC5B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99897" y="2369237"/>
            <a:ext cx="2198254" cy="12128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F6502FD-DA21-4078-AEE2-3BB61AE016E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581628">
            <a:off x="6900898" y="2386186"/>
            <a:ext cx="1164582" cy="153423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8FE2C8C-4E04-4509-93C1-DD73AA50321E}"/>
              </a:ext>
            </a:extLst>
          </p:cNvPr>
          <p:cNvSpPr/>
          <p:nvPr/>
        </p:nvSpPr>
        <p:spPr>
          <a:xfrm>
            <a:off x="627063" y="1699490"/>
            <a:ext cx="2520000" cy="3960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5B7F2EE-B7A5-4408-8A00-1EDD57CD14AA}"/>
              </a:ext>
            </a:extLst>
          </p:cNvPr>
          <p:cNvSpPr/>
          <p:nvPr/>
        </p:nvSpPr>
        <p:spPr>
          <a:xfrm>
            <a:off x="627063" y="1699490"/>
            <a:ext cx="2520000" cy="360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s-IS" sz="1400" b="1" dirty="0">
                <a:solidFill>
                  <a:schemeClr val="accent3"/>
                </a:solidFill>
              </a:rPr>
              <a:t>Fjárlög 2019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5E4F39E-26AF-435A-BEAF-4D5CFE77D1D3}"/>
              </a:ext>
            </a:extLst>
          </p:cNvPr>
          <p:cNvSpPr txBox="1"/>
          <p:nvPr/>
        </p:nvSpPr>
        <p:spPr>
          <a:xfrm>
            <a:off x="802553" y="4244106"/>
            <a:ext cx="2198255" cy="93871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Hækkun hámarksfjárhæða í fæðingarorlofi</a:t>
            </a:r>
          </a:p>
          <a:p>
            <a:pPr marL="180000" indent="-180000">
              <a:spcBef>
                <a:spcPts val="600"/>
              </a:spcBef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Sérstök hækkun persónuafsláttar</a:t>
            </a:r>
          </a:p>
        </p:txBody>
      </p:sp>
      <p:pic>
        <p:nvPicPr>
          <p:cNvPr id="425988" name="Picture 4" descr="Image result for frumvarp til fjÃ¡rlaga 2019">
            <a:extLst>
              <a:ext uri="{FF2B5EF4-FFF2-40B4-BE49-F238E27FC236}">
                <a16:creationId xmlns:a16="http://schemas.microsoft.com/office/drawing/2014/main" id="{C4725519-1686-4B65-8357-F9221D3614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1547" y="2299091"/>
            <a:ext cx="1251032" cy="170541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1000273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5754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Samsett lausn sem byggir á samstarfi verklýðshreyfingar, atvinnurekenda og stjórnvald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B331AD4-098B-4245-BDAE-1388C4DF2ED9}"/>
              </a:ext>
            </a:extLst>
          </p:cNvPr>
          <p:cNvSpPr/>
          <p:nvPr/>
        </p:nvSpPr>
        <p:spPr>
          <a:xfrm>
            <a:off x="6173940" y="1102637"/>
            <a:ext cx="2520000" cy="2520000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bg1"/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t"/>
          <a:lstStyle/>
          <a:p>
            <a:pPr algn="r"/>
            <a:r>
              <a:rPr lang="is-IS" sz="2400" b="1" dirty="0">
                <a:solidFill>
                  <a:schemeClr val="bg1"/>
                </a:solidFill>
              </a:rPr>
              <a:t>Aukinn sveigjanleiki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9BB7FA0-D3B8-483B-98CB-5BA6CEC60057}"/>
              </a:ext>
            </a:extLst>
          </p:cNvPr>
          <p:cNvSpPr/>
          <p:nvPr/>
        </p:nvSpPr>
        <p:spPr>
          <a:xfrm>
            <a:off x="6189088" y="3789999"/>
            <a:ext cx="2520000" cy="2520000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b"/>
          <a:lstStyle/>
          <a:p>
            <a:pPr algn="r"/>
            <a:r>
              <a:rPr lang="is-IS" sz="2400" b="1" dirty="0">
                <a:solidFill>
                  <a:schemeClr val="bg1"/>
                </a:solidFill>
              </a:rPr>
              <a:t>Lægri</a:t>
            </a:r>
            <a:br>
              <a:rPr lang="is-IS" sz="2400" b="1" dirty="0">
                <a:solidFill>
                  <a:schemeClr val="bg1"/>
                </a:solidFill>
              </a:rPr>
            </a:br>
            <a:r>
              <a:rPr lang="is-IS" sz="2400" b="1" dirty="0">
                <a:solidFill>
                  <a:schemeClr val="bg1"/>
                </a:solidFill>
              </a:rPr>
              <a:t>vexti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6CBA4FF-F154-4C7D-9996-64E0A8C63F3C}"/>
              </a:ext>
            </a:extLst>
          </p:cNvPr>
          <p:cNvSpPr/>
          <p:nvPr/>
        </p:nvSpPr>
        <p:spPr>
          <a:xfrm>
            <a:off x="3482913" y="1102637"/>
            <a:ext cx="2520000" cy="2520000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t"/>
          <a:lstStyle/>
          <a:p>
            <a:r>
              <a:rPr lang="is-IS" sz="2400" b="1" dirty="0">
                <a:solidFill>
                  <a:schemeClr val="bg1"/>
                </a:solidFill>
              </a:rPr>
              <a:t>Hærri lau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67E13E9-3ECD-493D-B4B0-ED6D11B5678D}"/>
              </a:ext>
            </a:extLst>
          </p:cNvPr>
          <p:cNvSpPr/>
          <p:nvPr/>
        </p:nvSpPr>
        <p:spPr>
          <a:xfrm>
            <a:off x="3482913" y="3789999"/>
            <a:ext cx="2520000" cy="2520000"/>
          </a:xfrm>
          <a:prstGeom prst="rect">
            <a:avLst/>
          </a:prstGeom>
          <a:solidFill>
            <a:schemeClr val="accent6"/>
          </a:solidFill>
          <a:ln w="38100">
            <a:solidFill>
              <a:schemeClr val="bg1"/>
            </a:solidFill>
            <a:beve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tIns="360000" rIns="360000" bIns="360000" rtlCol="0" anchor="b"/>
          <a:lstStyle/>
          <a:p>
            <a:r>
              <a:rPr lang="is-IS" sz="2400" b="1" dirty="0">
                <a:solidFill>
                  <a:schemeClr val="bg1"/>
                </a:solidFill>
              </a:rPr>
              <a:t>Lægri</a:t>
            </a:r>
            <a:br>
              <a:rPr lang="is-IS" sz="2400" b="1" dirty="0">
                <a:solidFill>
                  <a:schemeClr val="bg1"/>
                </a:solidFill>
              </a:rPr>
            </a:br>
            <a:r>
              <a:rPr lang="is-IS" sz="2400" b="1" dirty="0">
                <a:solidFill>
                  <a:schemeClr val="bg1"/>
                </a:solidFill>
              </a:rPr>
              <a:t>skattar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49313F0B-CF1F-46C7-8419-7B919CA58530}"/>
              </a:ext>
            </a:extLst>
          </p:cNvPr>
          <p:cNvSpPr/>
          <p:nvPr/>
        </p:nvSpPr>
        <p:spPr>
          <a:xfrm>
            <a:off x="4836000" y="2446318"/>
            <a:ext cx="2520000" cy="2520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is-IS" b="1" dirty="0">
              <a:solidFill>
                <a:schemeClr val="accent3"/>
              </a:solidFill>
            </a:endParaRPr>
          </a:p>
        </p:txBody>
      </p:sp>
      <p:pic>
        <p:nvPicPr>
          <p:cNvPr id="43" name="Graphic 42" descr="Business Growth">
            <a:extLst>
              <a:ext uri="{FF2B5EF4-FFF2-40B4-BE49-F238E27FC236}">
                <a16:creationId xmlns:a16="http://schemas.microsoft.com/office/drawing/2014/main" id="{36FE1702-7368-4A01-BFE5-5BC4C44F87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796429" y="2334718"/>
            <a:ext cx="914400" cy="914400"/>
          </a:xfrm>
          <a:prstGeom prst="rect">
            <a:avLst/>
          </a:prstGeom>
        </p:spPr>
      </p:pic>
      <p:pic>
        <p:nvPicPr>
          <p:cNvPr id="44" name="Graphic 43" descr="Scales of Justice">
            <a:extLst>
              <a:ext uri="{FF2B5EF4-FFF2-40B4-BE49-F238E27FC236}">
                <a16:creationId xmlns:a16="http://schemas.microsoft.com/office/drawing/2014/main" id="{A21B6540-AB37-44BC-B08E-DC07BE24C83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49088" y="2334718"/>
            <a:ext cx="914400" cy="914400"/>
          </a:xfrm>
          <a:prstGeom prst="rect">
            <a:avLst/>
          </a:prstGeom>
        </p:spPr>
      </p:pic>
      <p:pic>
        <p:nvPicPr>
          <p:cNvPr id="45" name="Graphic 44" descr="Piggy Bank">
            <a:extLst>
              <a:ext uri="{FF2B5EF4-FFF2-40B4-BE49-F238E27FC236}">
                <a16:creationId xmlns:a16="http://schemas.microsoft.com/office/drawing/2014/main" id="{A9E17CA0-DEA8-4369-A673-457121D4A4D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449088" y="4023999"/>
            <a:ext cx="914400" cy="914400"/>
          </a:xfrm>
          <a:prstGeom prst="rect">
            <a:avLst/>
          </a:prstGeom>
        </p:spPr>
      </p:pic>
      <p:pic>
        <p:nvPicPr>
          <p:cNvPr id="46" name="Graphic 45" descr="Bullseye">
            <a:extLst>
              <a:ext uri="{FF2B5EF4-FFF2-40B4-BE49-F238E27FC236}">
                <a16:creationId xmlns:a16="http://schemas.microsoft.com/office/drawing/2014/main" id="{AD5CDEAD-A1B1-4354-9D32-B81CE0D92D1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793460" y="4023999"/>
            <a:ext cx="914400" cy="914400"/>
          </a:xfrm>
          <a:prstGeom prst="rect">
            <a:avLst/>
          </a:prstGeom>
        </p:spPr>
      </p:pic>
      <p:pic>
        <p:nvPicPr>
          <p:cNvPr id="47" name="Picture 46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63443F2F-88CF-4B40-A054-03DD356B1D0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396257" y="2788675"/>
            <a:ext cx="1463654" cy="1835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060796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CE46AA3-02EE-4B29-8CB0-119E0C56B5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6644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CE46AA3-02EE-4B29-8CB0-119E0C56B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F29040DD-5F62-4ED0-8BCF-51ED6FDC71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66BFA5-8613-49E2-A9BB-B28F5173A62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1235" y="2649363"/>
            <a:ext cx="1800000" cy="10125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7D35C75-49B8-4B9C-896D-7FB95ACC645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94759" y="1379641"/>
            <a:ext cx="1800000" cy="10125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9" name="Rounded Rectangle 17">
            <a:extLst>
              <a:ext uri="{FF2B5EF4-FFF2-40B4-BE49-F238E27FC236}">
                <a16:creationId xmlns:a16="http://schemas.microsoft.com/office/drawing/2014/main" id="{1B57432F-8FDE-4055-A3C7-EA0FDCB3B5D3}"/>
              </a:ext>
            </a:extLst>
          </p:cNvPr>
          <p:cNvSpPr/>
          <p:nvPr/>
        </p:nvSpPr>
        <p:spPr>
          <a:xfrm>
            <a:off x="5304404" y="1374686"/>
            <a:ext cx="5792837" cy="10215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3002" lvl="1" indent="-171450" eaLnBrk="0" hangingPunct="0">
              <a:spcAft>
                <a:spcPts val="600"/>
              </a:spcAft>
              <a:buClr>
                <a:schemeClr val="accent4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is-IS" sz="1200" dirty="0">
                <a:solidFill>
                  <a:schemeClr val="tx1"/>
                </a:solidFill>
                <a:latin typeface="Calibri Light" panose="020F0302020204030204" pitchFamily="34" charset="0"/>
                <a:ea typeface="ＭＳ Ｐゴシック" charset="0"/>
                <a:cs typeface="Calibri Light" panose="020F0302020204030204" pitchFamily="34" charset="0"/>
                <a:sym typeface="Calibri" panose="020F0502020204030204" pitchFamily="34" charset="0"/>
              </a:rPr>
              <a:t>Upptaka nýs lægsta þreps tekjuskatts lækkar skatta um 7.636 krónur á mánuði. Það lækkar skattbyrði tekna við 330.000 þrepaviðmið nýja skattþrepsins úr 19,85% í 17,7%.</a:t>
            </a:r>
          </a:p>
          <a:p>
            <a:pPr marL="173002" lvl="1" indent="-171450" eaLnBrk="0" hangingPunct="0">
              <a:spcAft>
                <a:spcPts val="600"/>
              </a:spcAft>
              <a:buClr>
                <a:schemeClr val="accent4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is-IS" sz="1200" dirty="0">
                <a:solidFill>
                  <a:schemeClr val="tx1"/>
                </a:solidFill>
                <a:latin typeface="Calibri Light" panose="020F0302020204030204" pitchFamily="34" charset="0"/>
                <a:ea typeface="ＭＳ Ｐゴシック" charset="0"/>
                <a:cs typeface="Calibri Light" panose="020F0302020204030204" pitchFamily="34" charset="0"/>
                <a:sym typeface="Calibri" panose="020F0502020204030204" pitchFamily="34" charset="0"/>
              </a:rPr>
              <a:t>Þetta ásamt viðbótarskattbreytingum stjórnvalda mun lækka skatta á þá tekjulægstu um 10.000 krónum á mánuði. Þegar þessar aðgerðir hafa komið til fullrar innleiðingar jafngildri það hækkun launa um 15.900 krónur á mánuði fyrir skatta.</a:t>
            </a:r>
          </a:p>
        </p:txBody>
      </p:sp>
      <p:sp>
        <p:nvSpPr>
          <p:cNvPr id="53" name="Rounded Rectangle 17">
            <a:extLst>
              <a:ext uri="{FF2B5EF4-FFF2-40B4-BE49-F238E27FC236}">
                <a16:creationId xmlns:a16="http://schemas.microsoft.com/office/drawing/2014/main" id="{5F24BA8F-B30E-4C95-B013-85352F80F18E}"/>
              </a:ext>
            </a:extLst>
          </p:cNvPr>
          <p:cNvSpPr/>
          <p:nvPr/>
        </p:nvSpPr>
        <p:spPr>
          <a:xfrm>
            <a:off x="5304404" y="2632346"/>
            <a:ext cx="5792837" cy="10215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3002" lvl="1" indent="-171450" eaLnBrk="0" hangingPunct="0">
              <a:spcAft>
                <a:spcPts val="600"/>
              </a:spcAft>
              <a:buClr>
                <a:schemeClr val="accent4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is-IS" sz="1200" dirty="0">
                <a:solidFill>
                  <a:schemeClr val="tx1"/>
                </a:solidFill>
                <a:latin typeface="Calibri Light" panose="020F0302020204030204" pitchFamily="34" charset="0"/>
                <a:ea typeface="ＭＳ Ｐゴシック" charset="0"/>
                <a:cs typeface="Calibri Light" panose="020F0302020204030204" pitchFamily="34" charset="0"/>
                <a:sym typeface="Calibri" panose="020F0502020204030204" pitchFamily="34" charset="0"/>
              </a:rPr>
              <a:t>Hærri barnabætur gagnast einkum barnafólki með lágar tekjur. Þannig getur einstætt foreldri fengið 9.500 kr. hækkun á barnabótum og foreldrar í sambúð 14.000 kr. </a:t>
            </a:r>
          </a:p>
          <a:p>
            <a:pPr marL="173002" lvl="1" indent="-171450" eaLnBrk="0" hangingPunct="0">
              <a:spcAft>
                <a:spcPts val="600"/>
              </a:spcAft>
              <a:buClr>
                <a:schemeClr val="accent4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is-IS" sz="1200" dirty="0">
                <a:solidFill>
                  <a:schemeClr val="tx1"/>
                </a:solidFill>
                <a:latin typeface="Calibri Light" panose="020F0302020204030204" pitchFamily="34" charset="0"/>
                <a:ea typeface="ＭＳ Ｐゴシック" charset="0"/>
                <a:cs typeface="Calibri Light" panose="020F0302020204030204" pitchFamily="34" charset="0"/>
                <a:sym typeface="Calibri" panose="020F0502020204030204" pitchFamily="34" charset="0"/>
              </a:rPr>
              <a:t>9.500 kr. í hærri barnabótum samsvara 15.000 kr. launahækkun fyrir skatta.</a:t>
            </a:r>
          </a:p>
          <a:p>
            <a:pPr marL="173002" lvl="1" indent="-171450" eaLnBrk="0" hangingPunct="0">
              <a:spcAft>
                <a:spcPts val="600"/>
              </a:spcAft>
              <a:buClr>
                <a:schemeClr val="accent4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is-IS" sz="1200" dirty="0">
                <a:solidFill>
                  <a:schemeClr val="tx1"/>
                </a:solidFill>
                <a:latin typeface="Calibri Light" panose="020F0302020204030204" pitchFamily="34" charset="0"/>
                <a:ea typeface="ＭＳ Ｐゴシック" charset="0"/>
                <a:cs typeface="Calibri Light" panose="020F0302020204030204" pitchFamily="34" charset="0"/>
                <a:sym typeface="Calibri" panose="020F0502020204030204" pitchFamily="34" charset="0"/>
              </a:rPr>
              <a:t>Þá verða skerðingarmörk barnabótanna einnig hækkuð</a:t>
            </a:r>
          </a:p>
        </p:txBody>
      </p:sp>
      <p:sp>
        <p:nvSpPr>
          <p:cNvPr id="57" name="Rounded Rectangle 17">
            <a:extLst>
              <a:ext uri="{FF2B5EF4-FFF2-40B4-BE49-F238E27FC236}">
                <a16:creationId xmlns:a16="http://schemas.microsoft.com/office/drawing/2014/main" id="{0442A057-DBEE-4955-87F2-927EFCCE3711}"/>
              </a:ext>
            </a:extLst>
          </p:cNvPr>
          <p:cNvSpPr/>
          <p:nvPr/>
        </p:nvSpPr>
        <p:spPr>
          <a:xfrm>
            <a:off x="5304404" y="3890007"/>
            <a:ext cx="5792837" cy="10215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3002" lvl="1" indent="-171450" eaLnBrk="0" hangingPunct="0">
              <a:spcAft>
                <a:spcPts val="300"/>
              </a:spcAft>
              <a:buClr>
                <a:schemeClr val="accent4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is-IS" sz="12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reyting á tekjuskatti einstaklinga er aðeins ein af mörgum aðgerðum stjórnvalda.</a:t>
            </a:r>
          </a:p>
          <a:p>
            <a:pPr marL="173002" lvl="1" indent="-171450" eaLnBrk="0" hangingPunct="0">
              <a:spcAft>
                <a:spcPts val="300"/>
              </a:spcAft>
              <a:buClr>
                <a:schemeClr val="accent4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is-IS" sz="12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Þegar </a:t>
            </a:r>
            <a:r>
              <a:rPr lang="is-IS" sz="1200" dirty="0">
                <a:solidFill>
                  <a:schemeClr val="tx1"/>
                </a:solidFill>
                <a:latin typeface="Calibri Light" panose="020F0302020204030204" pitchFamily="34" charset="0"/>
                <a:ea typeface="ＭＳ Ｐゴシック" charset="0"/>
                <a:cs typeface="Calibri Light" panose="020F0302020204030204" pitchFamily="34" charset="0"/>
                <a:sym typeface="Calibri" panose="020F0502020204030204" pitchFamily="34" charset="0"/>
              </a:rPr>
              <a:t>hefur komið til hækkun atvinnuleysisbóta, hámarksfjárhæð fæðingarorlofs og sérstök hækkun persónuafsláttar.</a:t>
            </a:r>
          </a:p>
          <a:p>
            <a:pPr marL="173002" lvl="1" indent="-171450" eaLnBrk="0" hangingPunct="0">
              <a:spcAft>
                <a:spcPts val="300"/>
              </a:spcAft>
              <a:buClr>
                <a:schemeClr val="accent4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is-IS" sz="1200" dirty="0">
                <a:solidFill>
                  <a:schemeClr val="tx1"/>
                </a:solidFill>
                <a:latin typeface="Calibri Light" panose="020F0302020204030204" pitchFamily="34" charset="0"/>
                <a:ea typeface="ＭＳ Ｐゴシック" charset="0"/>
                <a:cs typeface="Calibri Light" panose="020F0302020204030204" pitchFamily="34" charset="0"/>
                <a:sym typeface="Calibri" panose="020F0502020204030204" pitchFamily="34" charset="0"/>
              </a:rPr>
              <a:t>Fyrirhugaðar eru aðgerðir í húsnæðismálum, aðgerðir gegn brotastarfsemi á vinnumarkaði auk lengingu fæðingarorlofs.</a:t>
            </a:r>
            <a:endParaRPr lang="is-IS" sz="1200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A9A5976E-236C-40E5-AEFC-D8CCB0E06D7F}"/>
              </a:ext>
            </a:extLst>
          </p:cNvPr>
          <p:cNvSpPr/>
          <p:nvPr/>
        </p:nvSpPr>
        <p:spPr>
          <a:xfrm rot="5400000">
            <a:off x="4399674" y="1642554"/>
            <a:ext cx="1012500" cy="485775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4" name="Isosceles Triangle 63">
            <a:extLst>
              <a:ext uri="{FF2B5EF4-FFF2-40B4-BE49-F238E27FC236}">
                <a16:creationId xmlns:a16="http://schemas.microsoft.com/office/drawing/2014/main" id="{3BD70534-8724-4E16-9BB7-2F1D9E0573AE}"/>
              </a:ext>
            </a:extLst>
          </p:cNvPr>
          <p:cNvSpPr/>
          <p:nvPr/>
        </p:nvSpPr>
        <p:spPr>
          <a:xfrm rot="5400000">
            <a:off x="4392799" y="2912276"/>
            <a:ext cx="1026250" cy="485775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id="{AF7B2648-A58A-42A7-B158-6E23B7D94CF8}"/>
              </a:ext>
            </a:extLst>
          </p:cNvPr>
          <p:cNvSpPr/>
          <p:nvPr/>
        </p:nvSpPr>
        <p:spPr>
          <a:xfrm rot="5400000">
            <a:off x="4392799" y="4157875"/>
            <a:ext cx="1026250" cy="485775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64F2FD9F-B967-4D8E-88C9-50F2EEBE4DF3}"/>
              </a:ext>
            </a:extLst>
          </p:cNvPr>
          <p:cNvGrpSpPr/>
          <p:nvPr/>
        </p:nvGrpSpPr>
        <p:grpSpPr>
          <a:xfrm>
            <a:off x="3081887" y="1379191"/>
            <a:ext cx="1504950" cy="1012501"/>
            <a:chOff x="2895267" y="1383695"/>
            <a:chExt cx="1504950" cy="1012501"/>
          </a:xfrm>
          <a:solidFill>
            <a:schemeClr val="accent4"/>
          </a:solidFill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DE48377C-F782-42CF-8894-C8605D71B544}"/>
                </a:ext>
              </a:extLst>
            </p:cNvPr>
            <p:cNvSpPr/>
            <p:nvPr/>
          </p:nvSpPr>
          <p:spPr>
            <a:xfrm>
              <a:off x="2895267" y="1383695"/>
              <a:ext cx="1504950" cy="10125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89E532B3-1C94-41A3-B8C7-0CFC9E87D39A}"/>
                </a:ext>
              </a:extLst>
            </p:cNvPr>
            <p:cNvSpPr/>
            <p:nvPr/>
          </p:nvSpPr>
          <p:spPr>
            <a:xfrm>
              <a:off x="3004907" y="1614322"/>
              <a:ext cx="1285673" cy="52322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algn="ctr"/>
              <a:r>
                <a:rPr lang="is-IS" sz="14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10.000 kr.</a:t>
              </a:r>
              <a:br>
                <a:rPr lang="is-IS" sz="14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lang="is-IS" sz="14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skattalækkanir</a:t>
              </a:r>
              <a:endParaRPr lang="is-IS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2ED29019-CAE7-41DE-93D9-C54AFA163BC6}"/>
              </a:ext>
            </a:extLst>
          </p:cNvPr>
          <p:cNvGrpSpPr/>
          <p:nvPr/>
        </p:nvGrpSpPr>
        <p:grpSpPr>
          <a:xfrm>
            <a:off x="3091319" y="2642039"/>
            <a:ext cx="1504950" cy="1026249"/>
            <a:chOff x="2934264" y="2631482"/>
            <a:chExt cx="1504950" cy="1026249"/>
          </a:xfrm>
          <a:solidFill>
            <a:schemeClr val="accent3"/>
          </a:solidFill>
        </p:grpSpPr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D430FE4-15B5-446E-B776-D76B53797624}"/>
                </a:ext>
              </a:extLst>
            </p:cNvPr>
            <p:cNvSpPr/>
            <p:nvPr/>
          </p:nvSpPr>
          <p:spPr>
            <a:xfrm>
              <a:off x="2934264" y="2631482"/>
              <a:ext cx="1504950" cy="1026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FF47448B-0B10-4E26-8030-D88C5C91FDD6}"/>
                </a:ext>
              </a:extLst>
            </p:cNvPr>
            <p:cNvSpPr/>
            <p:nvPr/>
          </p:nvSpPr>
          <p:spPr>
            <a:xfrm>
              <a:off x="3005980" y="2882996"/>
              <a:ext cx="1361527" cy="523220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algn="ctr"/>
              <a:r>
                <a:rPr lang="is-IS" sz="14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15.000 kr. hærri</a:t>
              </a:r>
              <a:br>
                <a:rPr lang="is-IS" sz="14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</a:br>
              <a:r>
                <a:rPr lang="is-IS" sz="14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barnabætur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56FA5A44-7A5E-4BE0-8811-D874F21A7DB2}"/>
              </a:ext>
            </a:extLst>
          </p:cNvPr>
          <p:cNvGrpSpPr/>
          <p:nvPr/>
        </p:nvGrpSpPr>
        <p:grpSpPr>
          <a:xfrm>
            <a:off x="3081887" y="3887638"/>
            <a:ext cx="1504950" cy="1026249"/>
            <a:chOff x="2971466" y="3893133"/>
            <a:chExt cx="1504950" cy="1026249"/>
          </a:xfrm>
          <a:solidFill>
            <a:schemeClr val="accent5"/>
          </a:solidFill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F5AA8AB3-D4DC-4923-B3AB-6833C3C6ACD9}"/>
                </a:ext>
              </a:extLst>
            </p:cNvPr>
            <p:cNvSpPr/>
            <p:nvPr/>
          </p:nvSpPr>
          <p:spPr>
            <a:xfrm>
              <a:off x="2971466" y="3893133"/>
              <a:ext cx="1504950" cy="10262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39761206-F8D3-4F43-910D-BE290D60DBE7}"/>
                </a:ext>
              </a:extLst>
            </p:cNvPr>
            <p:cNvSpPr/>
            <p:nvPr/>
          </p:nvSpPr>
          <p:spPr>
            <a:xfrm>
              <a:off x="3038997" y="4144647"/>
              <a:ext cx="1369888" cy="52322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is-IS" sz="14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Fleiri aðgerðir stjórnvalda</a:t>
              </a:r>
            </a:p>
          </p:txBody>
        </p:sp>
      </p:grpSp>
      <p:pic>
        <p:nvPicPr>
          <p:cNvPr id="87" name="Picture 86">
            <a:extLst>
              <a:ext uri="{FF2B5EF4-FFF2-40B4-BE49-F238E27FC236}">
                <a16:creationId xmlns:a16="http://schemas.microsoft.com/office/drawing/2014/main" id="{93078231-F971-4267-BD77-FFF373E4701E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5947" y="1730434"/>
            <a:ext cx="357305" cy="310015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2290A338-29B2-4106-9ADA-2BCD24E25C3E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5947" y="3000156"/>
            <a:ext cx="357305" cy="310015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8F925083-F9EC-4AC4-958E-C369498ABF74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5947" y="4245755"/>
            <a:ext cx="357305" cy="31001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A147DDD-CD3B-42E0-A41E-A287E8ECB10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92569" y="3894512"/>
            <a:ext cx="1800000" cy="10125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2E997FA-764C-42A9-8E01-F96C8147205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94759" y="1379641"/>
            <a:ext cx="1800000" cy="10125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E473D73-C7FF-4654-8ED2-E1121E8EB36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01235" y="2649363"/>
            <a:ext cx="1800000" cy="1012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56028BB-1E69-4D97-9C38-69EF4028D6C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92569" y="3894512"/>
            <a:ext cx="1800000" cy="1012500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969BC050-88A2-492D-8B25-C098A9997F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rgbClr val="39488E"/>
                </a:solidFill>
              </a:rPr>
              <a:t>Samantekt: </a:t>
            </a:r>
            <a:r>
              <a:rPr lang="is-IS" dirty="0">
                <a:solidFill>
                  <a:srgbClr val="000000"/>
                </a:solidFill>
              </a:rPr>
              <a:t>Skattalækkun og aðrar aðgerðir stjórnvalda eru lykilatriði til að liðka fyrir gerð kjarasamninga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527615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511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8" name="Picture 7" descr="A picture containing sky, outdoor, water, nature&#10;&#10;Description generated with very high confidence">
            <a:extLst>
              <a:ext uri="{FF2B5EF4-FFF2-40B4-BE49-F238E27FC236}">
                <a16:creationId xmlns:a16="http://schemas.microsoft.com/office/drawing/2014/main" id="{A7A05E24-52A5-4CF8-8048-1247B37B28E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msett nálgun í fjögurra ára lífskjarasamningi</a:t>
            </a:r>
          </a:p>
        </p:txBody>
      </p:sp>
      <p:sp>
        <p:nvSpPr>
          <p:cNvPr id="30" name="Rectangle 29">
            <a:hlinkClick r:id="rId9" action="ppaction://hlinksldjump"/>
            <a:extLst>
              <a:ext uri="{FF2B5EF4-FFF2-40B4-BE49-F238E27FC236}">
                <a16:creationId xmlns:a16="http://schemas.microsoft.com/office/drawing/2014/main" id="{E4481118-4B77-4934-AD01-3257613F3801}"/>
              </a:ext>
            </a:extLst>
          </p:cNvPr>
          <p:cNvSpPr/>
          <p:nvPr/>
        </p:nvSpPr>
        <p:spPr>
          <a:xfrm>
            <a:off x="3679113" y="1268413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Hærri laun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Sérstök áhersla á kjarabætur tekjulágs launafólks 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49AAB0A-0F57-47D4-85A4-5541A0C054D1}"/>
              </a:ext>
            </a:extLst>
          </p:cNvPr>
          <p:cNvSpPr txBox="1"/>
          <p:nvPr/>
        </p:nvSpPr>
        <p:spPr>
          <a:xfrm>
            <a:off x="3840929" y="1315971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Rectangle 32">
            <a:hlinkClick r:id="rId10" action="ppaction://hlinksldjump"/>
            <a:extLst>
              <a:ext uri="{FF2B5EF4-FFF2-40B4-BE49-F238E27FC236}">
                <a16:creationId xmlns:a16="http://schemas.microsoft.com/office/drawing/2014/main" id="{9A259BB5-62BF-41AC-A34C-13661CFAC990}"/>
              </a:ext>
            </a:extLst>
          </p:cNvPr>
          <p:cNvSpPr/>
          <p:nvPr/>
        </p:nvSpPr>
        <p:spPr>
          <a:xfrm>
            <a:off x="3679113" y="2523804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nn-NO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ukinn sveigjanleiki og meiri frítími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Styttri vinnutími, aukinn frítími og fjölskylduvænni vinnustaður 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DFB252-5970-4F9E-ABB3-9B982C21EE91}"/>
              </a:ext>
            </a:extLst>
          </p:cNvPr>
          <p:cNvSpPr txBox="1"/>
          <p:nvPr/>
        </p:nvSpPr>
        <p:spPr>
          <a:xfrm>
            <a:off x="3840929" y="2571362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Rectangle 37">
            <a:hlinkClick r:id="rId11" action="ppaction://hlinksldjump"/>
            <a:extLst>
              <a:ext uri="{FF2B5EF4-FFF2-40B4-BE49-F238E27FC236}">
                <a16:creationId xmlns:a16="http://schemas.microsoft.com/office/drawing/2014/main" id="{43246A88-0FCE-44BF-8763-894D11A9A7F9}"/>
              </a:ext>
            </a:extLst>
          </p:cNvPr>
          <p:cNvSpPr/>
          <p:nvPr/>
        </p:nvSpPr>
        <p:spPr>
          <a:xfrm>
            <a:off x="3679113" y="3779195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Lægri skattar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Aðgerðir stjórnvalda til að létta undir með tekjulágu launafólki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885ED-779F-4D85-A959-2BDD48A7E939}"/>
              </a:ext>
            </a:extLst>
          </p:cNvPr>
          <p:cNvSpPr txBox="1"/>
          <p:nvPr/>
        </p:nvSpPr>
        <p:spPr>
          <a:xfrm>
            <a:off x="3840929" y="3826753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0" name="Rectangle 39">
            <a:hlinkClick r:id="rId12" action="ppaction://hlinksldjump"/>
            <a:extLst>
              <a:ext uri="{FF2B5EF4-FFF2-40B4-BE49-F238E27FC236}">
                <a16:creationId xmlns:a16="http://schemas.microsoft.com/office/drawing/2014/main" id="{105B9D77-50E3-4017-B3A7-59F40598646E}"/>
              </a:ext>
            </a:extLst>
          </p:cNvPr>
          <p:cNvSpPr/>
          <p:nvPr/>
        </p:nvSpPr>
        <p:spPr>
          <a:xfrm>
            <a:off x="3679113" y="5002029"/>
            <a:ext cx="4833775" cy="1080000"/>
          </a:xfrm>
          <a:prstGeom prst="rect">
            <a:avLst/>
          </a:prstGeom>
          <a:solidFill>
            <a:srgbClr val="FFFFFF"/>
          </a:solidFill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rgbClr val="7EB6CA"/>
                </a:solidFill>
                <a:latin typeface="+mj-lt"/>
                <a:cs typeface="Arial" panose="020B0604020202020204" pitchFamily="34" charset="0"/>
              </a:rPr>
              <a:t>Lægri vextir</a:t>
            </a:r>
            <a:br>
              <a:rPr lang="is-IS" sz="2000" b="1" dirty="0">
                <a:solidFill>
                  <a:srgbClr val="7EB6CA"/>
                </a:solidFill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rgbClr val="7EB6CA"/>
                </a:solidFill>
                <a:latin typeface="+mj-lt"/>
                <a:cs typeface="Arial" panose="020B0604020202020204" pitchFamily="34" charset="0"/>
              </a:rPr>
              <a:t>- Lífskjarasamningur skapar skilyrði til vaxtalækkunar-</a:t>
            </a:r>
            <a:endParaRPr lang="is-IS" sz="2000" i="1" dirty="0">
              <a:solidFill>
                <a:srgbClr val="7EB6CA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FFF8BBF-4E8C-41BD-8AE4-4A9072BE2967}"/>
              </a:ext>
            </a:extLst>
          </p:cNvPr>
          <p:cNvSpPr txBox="1"/>
          <p:nvPr/>
        </p:nvSpPr>
        <p:spPr>
          <a:xfrm>
            <a:off x="3840929" y="5049587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7EB6CA"/>
                </a:solidFill>
                <a:latin typeface="+mj-lt"/>
                <a:cs typeface="Arial" panose="020B0604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771159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DC1FEDD-2651-4067-B2D8-A5CCA9608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3927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DC1FEDD-2651-4067-B2D8-A5CCA9608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71465C-0F8C-438A-89F0-D7D2B9F838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40705F63-FEE8-4A42-AE9F-2D0C75539F37}"/>
              </a:ext>
            </a:extLst>
          </p:cNvPr>
          <p:cNvSpPr/>
          <p:nvPr/>
        </p:nvSpPr>
        <p:spPr>
          <a:xfrm>
            <a:off x="1272000" y="4848416"/>
            <a:ext cx="9647999" cy="142976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221CA2-254D-448D-B0C3-AE88FFC17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Meginmarkmið lífskjarasamnings er að skapa hér skilyrði fyrir lækkun vaxta</a:t>
            </a:r>
            <a:endParaRPr lang="is-IS" dirty="0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F4DAAB1-AD7A-4028-88D3-F6DC59FBADA3}"/>
              </a:ext>
            </a:extLst>
          </p:cNvPr>
          <p:cNvSpPr txBox="1"/>
          <p:nvPr/>
        </p:nvSpPr>
        <p:spPr>
          <a:xfrm>
            <a:off x="1849129" y="5188839"/>
            <a:ext cx="8493740" cy="74892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is-IS" sz="1400" dirty="0"/>
              <a:t>Ummæli Gylfa </a:t>
            </a:r>
            <a:r>
              <a:rPr lang="is-IS" sz="1400" dirty="0" err="1"/>
              <a:t>Zoega</a:t>
            </a:r>
            <a:r>
              <a:rPr lang="is-IS" sz="1400" dirty="0"/>
              <a:t> nefndarmanns peningastefnunefndar 31. mars 2019: 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is-IS" sz="14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„Semj­ist um hóf­leg­ar launa­hækk­an­ir </a:t>
            </a:r>
            <a:r>
              <a:rPr lang="is-IS" sz="1400" b="1" i="1" dirty="0">
                <a:solidFill>
                  <a:schemeClr val="accent4"/>
                </a:solidFill>
                <a:latin typeface="+mj-lt"/>
                <a:cs typeface="Calibri Light" panose="020F0302020204030204" pitchFamily="34" charset="0"/>
              </a:rPr>
              <a:t>verður mögu­legt að lækka vexti hér á landi</a:t>
            </a:r>
            <a:r>
              <a:rPr lang="is-IS" sz="14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. Þjóðarbúið er vel í stakk búið til að tak­ast á við áfallið sem fylgdi gjaldþroti WOW </a:t>
            </a:r>
            <a:r>
              <a:rPr lang="is-IS" sz="1400" i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air</a:t>
            </a:r>
            <a:r>
              <a:rPr lang="is-IS" sz="14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.“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75D71986-1449-4046-BA55-C412340DDB7F}"/>
              </a:ext>
            </a:extLst>
          </p:cNvPr>
          <p:cNvSpPr/>
          <p:nvPr/>
        </p:nvSpPr>
        <p:spPr>
          <a:xfrm>
            <a:off x="7216880" y="1351673"/>
            <a:ext cx="3703120" cy="3238800"/>
          </a:xfrm>
          <a:prstGeom prst="round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B8D6B92-1931-450E-A5FF-121978D64FD3}"/>
              </a:ext>
            </a:extLst>
          </p:cNvPr>
          <p:cNvSpPr/>
          <p:nvPr/>
        </p:nvSpPr>
        <p:spPr>
          <a:xfrm>
            <a:off x="1241334" y="1453273"/>
            <a:ext cx="4953616" cy="31899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34470C0-3836-43D8-BB3C-F79FA9152387}"/>
              </a:ext>
            </a:extLst>
          </p:cNvPr>
          <p:cNvGrpSpPr/>
          <p:nvPr/>
        </p:nvGrpSpPr>
        <p:grpSpPr>
          <a:xfrm>
            <a:off x="1518128" y="1873163"/>
            <a:ext cx="4400029" cy="2350173"/>
            <a:chOff x="668141" y="2214378"/>
            <a:chExt cx="4400029" cy="2350173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56BEDEE-993A-414C-A982-FF35C0F8CC5B}"/>
                </a:ext>
              </a:extLst>
            </p:cNvPr>
            <p:cNvSpPr txBox="1"/>
            <p:nvPr/>
          </p:nvSpPr>
          <p:spPr>
            <a:xfrm>
              <a:off x="668141" y="2214378"/>
              <a:ext cx="3933033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</a:pPr>
              <a:r>
                <a:rPr lang="is-IS" b="1" dirty="0">
                  <a:solidFill>
                    <a:schemeClr val="accent3"/>
                  </a:solidFill>
                </a:rPr>
                <a:t>Skilyrði til lækkunar vaxta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A5806DE-B604-4FEE-B750-D560098E6AC5}"/>
                </a:ext>
              </a:extLst>
            </p:cNvPr>
            <p:cNvSpPr txBox="1"/>
            <p:nvPr/>
          </p:nvSpPr>
          <p:spPr>
            <a:xfrm>
              <a:off x="668141" y="2687114"/>
              <a:ext cx="4400029" cy="18774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sz="1400" dirty="0">
                  <a:solidFill>
                    <a:schemeClr val="accent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kynsamur lífskjarasamningur </a:t>
              </a:r>
              <a:r>
                <a:rPr lang="is-IS" sz="14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til fjögurra ára. Felur í sér beina tengingu milli svigrúms atvinnulífsins til launabreytinga og hækkunar launa.</a:t>
              </a:r>
            </a:p>
            <a:p>
              <a:pPr marL="285750" indent="-285750"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sz="1400" dirty="0">
                  <a:solidFill>
                    <a:schemeClr val="accent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töðugt gengi krónunnar. </a:t>
              </a:r>
              <a:r>
                <a:rPr lang="is-IS" sz="14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Ólíkt fyrri niðursveiflum er Ísland nú vel í stakk búið til að takast á við efnahagsáfall sem dregur úr líkum á veikingu krónunnar. </a:t>
              </a:r>
            </a:p>
            <a:p>
              <a:pPr marL="285750" indent="-285750"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is-IS" sz="1400" dirty="0">
                  <a:solidFill>
                    <a:schemeClr val="accent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Jafnvægi á húsnæðismarkaði. </a:t>
              </a:r>
              <a:r>
                <a:rPr lang="is-IS" sz="14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Aukið framboð íbúðarhúsnæðis mun áfram draga úr verðhækkun íbúða.</a:t>
              </a:r>
            </a:p>
          </p:txBody>
        </p:sp>
      </p:grp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53EE7B2D-09AB-403B-9C0D-D14596992872}"/>
              </a:ext>
            </a:extLst>
          </p:cNvPr>
          <p:cNvSpPr/>
          <p:nvPr/>
        </p:nvSpPr>
        <p:spPr>
          <a:xfrm rot="5400000">
            <a:off x="5158325" y="2741583"/>
            <a:ext cx="3189950" cy="61333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FFF7E29-3AEA-4ECC-B921-89DFE43056D6}"/>
              </a:ext>
            </a:extLst>
          </p:cNvPr>
          <p:cNvGrpSpPr/>
          <p:nvPr/>
        </p:nvGrpSpPr>
        <p:grpSpPr>
          <a:xfrm>
            <a:off x="7516392" y="1724655"/>
            <a:ext cx="3104097" cy="2492836"/>
            <a:chOff x="6096000" y="1700732"/>
            <a:chExt cx="3104097" cy="2492836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40BFFF99-4B10-48E1-B22C-0976B7BD9830}"/>
                </a:ext>
              </a:extLst>
            </p:cNvPr>
            <p:cNvSpPr/>
            <p:nvPr/>
          </p:nvSpPr>
          <p:spPr>
            <a:xfrm>
              <a:off x="6096000" y="2546795"/>
              <a:ext cx="270000" cy="270000"/>
            </a:xfrm>
            <a:prstGeom prst="ellipse">
              <a:avLst/>
            </a:prstGeom>
            <a:solidFill>
              <a:schemeClr val="accent3"/>
            </a:solidFill>
            <a:ln w="254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s-IS" b="1" dirty="0"/>
                <a:t>1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73DB974-9817-4406-9518-92ACA5EE27D7}"/>
                </a:ext>
              </a:extLst>
            </p:cNvPr>
            <p:cNvSpPr/>
            <p:nvPr/>
          </p:nvSpPr>
          <p:spPr>
            <a:xfrm>
              <a:off x="6096000" y="3016526"/>
              <a:ext cx="270000" cy="270000"/>
            </a:xfrm>
            <a:prstGeom prst="ellipse">
              <a:avLst/>
            </a:prstGeom>
            <a:solidFill>
              <a:schemeClr val="accent3"/>
            </a:solidFill>
            <a:ln w="254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s-IS" b="1" dirty="0"/>
                <a:t>2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63072F84-6344-4F0F-8EC6-4697A8FF33A9}"/>
                </a:ext>
              </a:extLst>
            </p:cNvPr>
            <p:cNvSpPr/>
            <p:nvPr/>
          </p:nvSpPr>
          <p:spPr>
            <a:xfrm>
              <a:off x="6096000" y="3486258"/>
              <a:ext cx="270000" cy="270000"/>
            </a:xfrm>
            <a:prstGeom prst="ellipse">
              <a:avLst/>
            </a:prstGeom>
            <a:solidFill>
              <a:schemeClr val="accent3"/>
            </a:solidFill>
            <a:ln w="254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s-IS" b="1" dirty="0"/>
                <a:t>3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01917D7-7E92-466B-9066-6E846C7A0D8E}"/>
                </a:ext>
              </a:extLst>
            </p:cNvPr>
            <p:cNvSpPr txBox="1"/>
            <p:nvPr/>
          </p:nvSpPr>
          <p:spPr>
            <a:xfrm>
              <a:off x="6096000" y="1700732"/>
              <a:ext cx="3104097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Clr>
                  <a:schemeClr val="accent3"/>
                </a:buClr>
              </a:pPr>
              <a:r>
                <a:rPr lang="is-IS" sz="14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Verðbólga ræðst að mestu leyti af þróun gengis krónunnar, launa og húsnæðisverðs. Þar af leiðir að: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7A1B20D-1A39-4333-9572-65130B35A099}"/>
                </a:ext>
              </a:extLst>
            </p:cNvPr>
            <p:cNvSpPr txBox="1"/>
            <p:nvPr/>
          </p:nvSpPr>
          <p:spPr>
            <a:xfrm>
              <a:off x="6562850" y="2574073"/>
              <a:ext cx="2637247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Clr>
                  <a:schemeClr val="accent3"/>
                </a:buClr>
              </a:pPr>
              <a:r>
                <a:rPr lang="is-IS" sz="14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kynsamir kjarasamningar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273137D-BA3B-41DD-BA8C-2778587EB89D}"/>
                </a:ext>
              </a:extLst>
            </p:cNvPr>
            <p:cNvSpPr txBox="1"/>
            <p:nvPr/>
          </p:nvSpPr>
          <p:spPr>
            <a:xfrm>
              <a:off x="6562850" y="3038720"/>
              <a:ext cx="2637247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Clr>
                  <a:schemeClr val="accent3"/>
                </a:buClr>
              </a:pPr>
              <a:r>
                <a:rPr lang="is-IS" sz="14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Jafnvægi á fasteignamarkaði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E0DDAA6-23EB-4719-ADB7-36941C775565}"/>
                </a:ext>
              </a:extLst>
            </p:cNvPr>
            <p:cNvSpPr txBox="1"/>
            <p:nvPr/>
          </p:nvSpPr>
          <p:spPr>
            <a:xfrm>
              <a:off x="6562850" y="3513536"/>
              <a:ext cx="2637247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Clr>
                  <a:schemeClr val="accent3"/>
                </a:buClr>
              </a:pPr>
              <a:r>
                <a:rPr lang="is-IS" sz="14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töðugt gengi krónunnar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C22F78E-5B0B-46BC-B3E4-F790492C8951}"/>
                </a:ext>
              </a:extLst>
            </p:cNvPr>
            <p:cNvSpPr txBox="1"/>
            <p:nvPr/>
          </p:nvSpPr>
          <p:spPr>
            <a:xfrm>
              <a:off x="6096000" y="3978124"/>
              <a:ext cx="3104097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  <a:buClr>
                  <a:schemeClr val="accent3"/>
                </a:buClr>
              </a:pPr>
              <a:r>
                <a:rPr lang="is-IS" sz="1400" b="1" dirty="0">
                  <a:solidFill>
                    <a:schemeClr val="accent3"/>
                  </a:solidFill>
                  <a:latin typeface="+mj-lt"/>
                  <a:cs typeface="Calibri Light" panose="020F0302020204030204" pitchFamily="34" charset="0"/>
                </a:rPr>
                <a:t>Skapar hér skilyrði til vaxtalækkuna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5726375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DC1FEDD-2651-4067-B2D8-A5CCA9608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9836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DC1FEDD-2651-4067-B2D8-A5CCA9608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71465C-0F8C-438A-89F0-D7D2B9F838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221CA2-254D-448D-B0C3-AE88FFC17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11160000" cy="434608"/>
          </a:xfrm>
        </p:spPr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Lækkun vaxta eykur ráðstöfunartekjur heimila, stuðlar að áframhaldandi hagvexti og fjölgun starfa</a:t>
            </a:r>
            <a:endParaRPr lang="is-IS" dirty="0">
              <a:solidFill>
                <a:schemeClr val="tx2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0C5F427-90E8-4263-A24D-450D5D688192}"/>
              </a:ext>
            </a:extLst>
          </p:cNvPr>
          <p:cNvSpPr/>
          <p:nvPr/>
        </p:nvSpPr>
        <p:spPr>
          <a:xfrm>
            <a:off x="550863" y="1527182"/>
            <a:ext cx="3549883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is-IS" b="1" dirty="0">
                <a:solidFill>
                  <a:schemeClr val="accent4"/>
                </a:solidFill>
                <a:latin typeface="+mj-lt"/>
                <a:cs typeface="Calibri Light" panose="020F0302020204030204" pitchFamily="34" charset="0"/>
              </a:rPr>
              <a:t>Af hverju skiptir máli að vextir lækki?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5BAF691-2613-4FBC-AA69-24158858FD29}"/>
              </a:ext>
            </a:extLst>
          </p:cNvPr>
          <p:cNvSpPr/>
          <p:nvPr/>
        </p:nvSpPr>
        <p:spPr>
          <a:xfrm>
            <a:off x="575622" y="2106013"/>
            <a:ext cx="1750482" cy="3500459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CA46497-29B2-438A-81E9-97B2460BEB4A}"/>
              </a:ext>
            </a:extLst>
          </p:cNvPr>
          <p:cNvSpPr txBox="1"/>
          <p:nvPr/>
        </p:nvSpPr>
        <p:spPr>
          <a:xfrm>
            <a:off x="640863" y="2441586"/>
            <a:ext cx="1620000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s-IS" sz="1600" b="1" dirty="0"/>
              <a:t>Aukinn kaupmáttur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62830285-36A7-47C9-811B-3CF420062784}"/>
              </a:ext>
            </a:extLst>
          </p:cNvPr>
          <p:cNvSpPr/>
          <p:nvPr/>
        </p:nvSpPr>
        <p:spPr>
          <a:xfrm>
            <a:off x="1259881" y="1915030"/>
            <a:ext cx="381965" cy="38196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8FA92C7-E34D-43E8-A3A6-315DEA09BB38}"/>
              </a:ext>
            </a:extLst>
          </p:cNvPr>
          <p:cNvSpPr txBox="1"/>
          <p:nvPr/>
        </p:nvSpPr>
        <p:spPr>
          <a:xfrm>
            <a:off x="640863" y="3096718"/>
            <a:ext cx="1620000" cy="646331"/>
          </a:xfrm>
          <a:prstGeom prst="rect">
            <a:avLst/>
          </a:prstGeom>
          <a:noFill/>
          <a:ln>
            <a:noFill/>
          </a:ln>
        </p:spPr>
        <p:txBody>
          <a:bodyPr wrap="square" lIns="108000" tIns="0" rIns="108000" bIns="0" rtlCol="0">
            <a:spAutoFit/>
          </a:bodyPr>
          <a:lstStyle/>
          <a:p>
            <a:pPr algn="ctr"/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Lægri vextir auka ráðstöfunartekjur heimila.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51AA216-5698-491F-B655-1B243BAE9348}"/>
              </a:ext>
            </a:extLst>
          </p:cNvPr>
          <p:cNvSpPr/>
          <p:nvPr/>
        </p:nvSpPr>
        <p:spPr>
          <a:xfrm>
            <a:off x="2440863" y="2106013"/>
            <a:ext cx="1750482" cy="3500459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EB9321A-0A96-4B0A-BC29-C1960B0596C6}"/>
              </a:ext>
            </a:extLst>
          </p:cNvPr>
          <p:cNvSpPr txBox="1"/>
          <p:nvPr/>
        </p:nvSpPr>
        <p:spPr>
          <a:xfrm>
            <a:off x="2506104" y="2441586"/>
            <a:ext cx="1620000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s-IS" sz="1600" b="1" dirty="0"/>
              <a:t>Jafnvægi á húsnæðismarkaði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2E8D078B-A3C6-4112-A7B0-E569974193AE}"/>
              </a:ext>
            </a:extLst>
          </p:cNvPr>
          <p:cNvSpPr/>
          <p:nvPr/>
        </p:nvSpPr>
        <p:spPr>
          <a:xfrm>
            <a:off x="3125122" y="1915030"/>
            <a:ext cx="381965" cy="38196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827BA25-7D9E-4988-8058-85B03DDE710B}"/>
              </a:ext>
            </a:extLst>
          </p:cNvPr>
          <p:cNvSpPr txBox="1"/>
          <p:nvPr/>
        </p:nvSpPr>
        <p:spPr>
          <a:xfrm>
            <a:off x="2506104" y="3096718"/>
            <a:ext cx="1620000" cy="1508105"/>
          </a:xfrm>
          <a:prstGeom prst="rect">
            <a:avLst/>
          </a:prstGeom>
          <a:noFill/>
          <a:ln>
            <a:noFill/>
          </a:ln>
        </p:spPr>
        <p:txBody>
          <a:bodyPr wrap="square" lIns="108000" tIns="0" rIns="108000" bIns="0" rtlCol="0">
            <a:spAutoFit/>
          </a:bodyPr>
          <a:lstStyle/>
          <a:p>
            <a:pPr algn="ctr"/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Lægri vextir styðja við fjárfestingu íbúða og jafnvægi næst fyrr á húsnæðismarkaði. Stuðlar að lækkun húsaleigu.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28C2ADF-A908-48FD-AB41-DB31A3EF953C}"/>
              </a:ext>
            </a:extLst>
          </p:cNvPr>
          <p:cNvSpPr/>
          <p:nvPr/>
        </p:nvSpPr>
        <p:spPr>
          <a:xfrm>
            <a:off x="4306104" y="2106013"/>
            <a:ext cx="1750482" cy="3500459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D1C8782-2541-4756-98D5-BBD3779EEB91}"/>
              </a:ext>
            </a:extLst>
          </p:cNvPr>
          <p:cNvSpPr txBox="1"/>
          <p:nvPr/>
        </p:nvSpPr>
        <p:spPr>
          <a:xfrm>
            <a:off x="4371345" y="2441586"/>
            <a:ext cx="1620000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s-IS" sz="1600" b="1" dirty="0"/>
              <a:t>Aukin fjárfesting og nýsköpun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A9D446C-B1E9-4E3C-8996-007BC06CF706}"/>
              </a:ext>
            </a:extLst>
          </p:cNvPr>
          <p:cNvSpPr/>
          <p:nvPr/>
        </p:nvSpPr>
        <p:spPr>
          <a:xfrm>
            <a:off x="4990363" y="1915030"/>
            <a:ext cx="381965" cy="38196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E0B3B95-9AF6-47EA-893C-29B5EB2809DD}"/>
              </a:ext>
            </a:extLst>
          </p:cNvPr>
          <p:cNvSpPr txBox="1"/>
          <p:nvPr/>
        </p:nvSpPr>
        <p:spPr>
          <a:xfrm>
            <a:off x="4371345" y="3096718"/>
            <a:ext cx="1620000" cy="1077218"/>
          </a:xfrm>
          <a:prstGeom prst="rect">
            <a:avLst/>
          </a:prstGeom>
          <a:noFill/>
          <a:ln>
            <a:noFill/>
          </a:ln>
        </p:spPr>
        <p:txBody>
          <a:bodyPr wrap="square" lIns="108000" tIns="0" rIns="108000" bIns="0" rtlCol="0">
            <a:spAutoFit/>
          </a:bodyPr>
          <a:lstStyle/>
          <a:p>
            <a:pPr algn="ctr"/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Lægri vextir styðja við fjárfestingu og nýsköpun. Örva þar með eftirspurn í hagkerfinu.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1A40A23-875F-4606-85EE-2E2D264EDC1A}"/>
              </a:ext>
            </a:extLst>
          </p:cNvPr>
          <p:cNvSpPr/>
          <p:nvPr/>
        </p:nvSpPr>
        <p:spPr>
          <a:xfrm>
            <a:off x="6171345" y="2106013"/>
            <a:ext cx="1750482" cy="3500459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6FACE19-5E28-4E1E-9386-7E5372503785}"/>
              </a:ext>
            </a:extLst>
          </p:cNvPr>
          <p:cNvSpPr txBox="1"/>
          <p:nvPr/>
        </p:nvSpPr>
        <p:spPr>
          <a:xfrm>
            <a:off x="6199641" y="2441586"/>
            <a:ext cx="1685241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s-IS" sz="1600" b="1" dirty="0"/>
              <a:t>Eykur samkeppnishæfni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93DB0747-05D4-41B3-B004-D770A31B85BD}"/>
              </a:ext>
            </a:extLst>
          </p:cNvPr>
          <p:cNvSpPr/>
          <p:nvPr/>
        </p:nvSpPr>
        <p:spPr>
          <a:xfrm>
            <a:off x="6855604" y="1915030"/>
            <a:ext cx="381965" cy="38196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8D139FF-8EBA-4329-910D-0239FC4BAD05}"/>
              </a:ext>
            </a:extLst>
          </p:cNvPr>
          <p:cNvSpPr txBox="1"/>
          <p:nvPr/>
        </p:nvSpPr>
        <p:spPr>
          <a:xfrm>
            <a:off x="6236586" y="3096718"/>
            <a:ext cx="1620000" cy="1508105"/>
          </a:xfrm>
          <a:prstGeom prst="rect">
            <a:avLst/>
          </a:prstGeom>
          <a:noFill/>
          <a:ln>
            <a:noFill/>
          </a:ln>
        </p:spPr>
        <p:txBody>
          <a:bodyPr wrap="square" lIns="108000" tIns="0" rIns="108000" bIns="0" rtlCol="0">
            <a:spAutoFit/>
          </a:bodyPr>
          <a:lstStyle/>
          <a:p>
            <a:pPr algn="ctr"/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Lægri vextir auðvelda fyrirtækjum að standa undir launahækkunum og styðja við samkeppnishæfni.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4AF3B9E-FE58-45A6-AC31-8E14665B0B19}"/>
              </a:ext>
            </a:extLst>
          </p:cNvPr>
          <p:cNvSpPr/>
          <p:nvPr/>
        </p:nvSpPr>
        <p:spPr>
          <a:xfrm>
            <a:off x="8036586" y="2106013"/>
            <a:ext cx="1750482" cy="3500459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541B331-C8F1-4585-A443-ED9B2586D637}"/>
              </a:ext>
            </a:extLst>
          </p:cNvPr>
          <p:cNvSpPr txBox="1"/>
          <p:nvPr/>
        </p:nvSpPr>
        <p:spPr>
          <a:xfrm>
            <a:off x="8211024" y="2441586"/>
            <a:ext cx="1401606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s-IS" sz="1600" b="1" dirty="0"/>
              <a:t>Styður við hagvöxt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41C92839-A5F6-4644-B5C7-04F122ED033A}"/>
              </a:ext>
            </a:extLst>
          </p:cNvPr>
          <p:cNvSpPr/>
          <p:nvPr/>
        </p:nvSpPr>
        <p:spPr>
          <a:xfrm>
            <a:off x="8720845" y="1915030"/>
            <a:ext cx="381965" cy="38196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FAB6DBA-9D6E-4660-BD48-033445B73CF4}"/>
              </a:ext>
            </a:extLst>
          </p:cNvPr>
          <p:cNvSpPr txBox="1"/>
          <p:nvPr/>
        </p:nvSpPr>
        <p:spPr>
          <a:xfrm>
            <a:off x="8101827" y="3096718"/>
            <a:ext cx="1620000" cy="861774"/>
          </a:xfrm>
          <a:prstGeom prst="rect">
            <a:avLst/>
          </a:prstGeom>
          <a:noFill/>
          <a:ln>
            <a:noFill/>
          </a:ln>
        </p:spPr>
        <p:txBody>
          <a:bodyPr wrap="square" lIns="108000" tIns="0" rIns="108000" bIns="0" rtlCol="0">
            <a:spAutoFit/>
          </a:bodyPr>
          <a:lstStyle/>
          <a:p>
            <a:pPr algn="ctr"/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Lægri vextir styðja við hagvöxt og bæta lífskjör almennings.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9304747A-143B-41CF-AE5D-942B7717EA2D}"/>
              </a:ext>
            </a:extLst>
          </p:cNvPr>
          <p:cNvSpPr/>
          <p:nvPr/>
        </p:nvSpPr>
        <p:spPr>
          <a:xfrm>
            <a:off x="9901826" y="2106013"/>
            <a:ext cx="1750482" cy="3500459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25122B6-5B38-4AB3-9573-937F174FBF8A}"/>
              </a:ext>
            </a:extLst>
          </p:cNvPr>
          <p:cNvSpPr txBox="1"/>
          <p:nvPr/>
        </p:nvSpPr>
        <p:spPr>
          <a:xfrm>
            <a:off x="9967067" y="2441586"/>
            <a:ext cx="1620000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s-IS" sz="1600" b="1" dirty="0"/>
              <a:t>Styður við fjölgun starfa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1C18B5EA-665F-4B37-BA14-F507FBA17759}"/>
              </a:ext>
            </a:extLst>
          </p:cNvPr>
          <p:cNvSpPr/>
          <p:nvPr/>
        </p:nvSpPr>
        <p:spPr>
          <a:xfrm>
            <a:off x="10586085" y="1915030"/>
            <a:ext cx="381965" cy="381965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95A06B4-361A-4CF8-83A8-FBA3E3F12804}"/>
              </a:ext>
            </a:extLst>
          </p:cNvPr>
          <p:cNvSpPr txBox="1"/>
          <p:nvPr/>
        </p:nvSpPr>
        <p:spPr>
          <a:xfrm>
            <a:off x="9967067" y="3096718"/>
            <a:ext cx="1620000" cy="430887"/>
          </a:xfrm>
          <a:prstGeom prst="rect">
            <a:avLst/>
          </a:prstGeom>
          <a:noFill/>
          <a:ln>
            <a:noFill/>
          </a:ln>
        </p:spPr>
        <p:txBody>
          <a:bodyPr wrap="square" lIns="108000" tIns="0" rIns="108000" bIns="0" rtlCol="0">
            <a:spAutoFit/>
          </a:bodyPr>
          <a:lstStyle/>
          <a:p>
            <a:pPr algn="ctr"/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Lægri vextir styðja við fjölgun starfa.</a:t>
            </a:r>
          </a:p>
        </p:txBody>
      </p:sp>
      <p:pic>
        <p:nvPicPr>
          <p:cNvPr id="32" name="Graphic 31" descr="Shopping basket">
            <a:extLst>
              <a:ext uri="{FF2B5EF4-FFF2-40B4-BE49-F238E27FC236}">
                <a16:creationId xmlns:a16="http://schemas.microsoft.com/office/drawing/2014/main" id="{9A03183C-6766-4125-9732-5ABC7E69F7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2169" y="4749414"/>
            <a:ext cx="720000" cy="720000"/>
          </a:xfrm>
          <a:prstGeom prst="rect">
            <a:avLst/>
          </a:prstGeom>
        </p:spPr>
      </p:pic>
      <p:pic>
        <p:nvPicPr>
          <p:cNvPr id="76" name="Graphic 75" descr="City">
            <a:extLst>
              <a:ext uri="{FF2B5EF4-FFF2-40B4-BE49-F238E27FC236}">
                <a16:creationId xmlns:a16="http://schemas.microsoft.com/office/drawing/2014/main" id="{34957ED0-2DCA-48B1-9CD1-65347923F82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62169" y="4749414"/>
            <a:ext cx="720000" cy="720000"/>
          </a:xfrm>
          <a:prstGeom prst="rect">
            <a:avLst/>
          </a:prstGeom>
        </p:spPr>
      </p:pic>
      <p:pic>
        <p:nvPicPr>
          <p:cNvPr id="77" name="Graphic 76" descr="Bank">
            <a:extLst>
              <a:ext uri="{FF2B5EF4-FFF2-40B4-BE49-F238E27FC236}">
                <a16:creationId xmlns:a16="http://schemas.microsoft.com/office/drawing/2014/main" id="{992F49FB-B4A0-40FA-96A1-B3BCD7D1F24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821345" y="4749414"/>
            <a:ext cx="720000" cy="720000"/>
          </a:xfrm>
          <a:prstGeom prst="rect">
            <a:avLst/>
          </a:prstGeom>
        </p:spPr>
      </p:pic>
      <p:pic>
        <p:nvPicPr>
          <p:cNvPr id="79" name="Graphic 78" descr="Bar chart">
            <a:extLst>
              <a:ext uri="{FF2B5EF4-FFF2-40B4-BE49-F238E27FC236}">
                <a16:creationId xmlns:a16="http://schemas.microsoft.com/office/drawing/2014/main" id="{E2EB355C-4246-4658-95FA-FE6BAFD9DB0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551827" y="4749414"/>
            <a:ext cx="720000" cy="720000"/>
          </a:xfrm>
          <a:prstGeom prst="rect">
            <a:avLst/>
          </a:prstGeom>
        </p:spPr>
      </p:pic>
      <p:pic>
        <p:nvPicPr>
          <p:cNvPr id="80" name="Graphic 79" descr="Employee badge">
            <a:extLst>
              <a:ext uri="{FF2B5EF4-FFF2-40B4-BE49-F238E27FC236}">
                <a16:creationId xmlns:a16="http://schemas.microsoft.com/office/drawing/2014/main" id="{4BBD2F55-3C87-4E13-ABC4-8B19E0AC6DC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417067" y="4749414"/>
            <a:ext cx="720000" cy="720000"/>
          </a:xfrm>
          <a:prstGeom prst="rect">
            <a:avLst/>
          </a:prstGeom>
        </p:spPr>
      </p:pic>
      <p:pic>
        <p:nvPicPr>
          <p:cNvPr id="4" name="Graphic 3" descr="Earth Globe Europe-Africa">
            <a:extLst>
              <a:ext uri="{FF2B5EF4-FFF2-40B4-BE49-F238E27FC236}">
                <a16:creationId xmlns:a16="http://schemas.microsoft.com/office/drawing/2014/main" id="{27FCFC8C-AFDD-4D0F-9DB8-4FD046607A2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692787" y="4803687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61662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964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43033" name="Rectangle 43032">
            <a:extLst>
              <a:ext uri="{FF2B5EF4-FFF2-40B4-BE49-F238E27FC236}">
                <a16:creationId xmlns:a16="http://schemas.microsoft.com/office/drawing/2014/main" id="{B8834213-D9F9-4572-83F5-33667BFB3EBE}"/>
              </a:ext>
            </a:extLst>
          </p:cNvPr>
          <p:cNvSpPr/>
          <p:nvPr/>
        </p:nvSpPr>
        <p:spPr>
          <a:xfrm>
            <a:off x="10106025" y="2168719"/>
            <a:ext cx="793620" cy="33085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A90A7E9-6530-456B-96FC-A59AC8A4990E}"/>
              </a:ext>
            </a:extLst>
          </p:cNvPr>
          <p:cNvSpPr>
            <a:spLocks/>
          </p:cNvSpPr>
          <p:nvPr/>
        </p:nvSpPr>
        <p:spPr>
          <a:xfrm>
            <a:off x="1056000" y="1279801"/>
            <a:ext cx="10080000" cy="4728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3047924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3657509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4267093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4876678" algn="l" defTabSz="609585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defTabSz="913526">
              <a:buClr>
                <a:schemeClr val="tx2"/>
              </a:buClr>
            </a:pPr>
            <a:r>
              <a:rPr lang="is-IS" sz="1400" b="1" dirty="0">
                <a:solidFill>
                  <a:schemeClr val="accent3"/>
                </a:solidFill>
                <a:latin typeface="+mj-lt"/>
              </a:rPr>
              <a:t>Vextir Seðlabanka Íslands</a:t>
            </a:r>
          </a:p>
          <a:p>
            <a:pPr defTabSz="913526">
              <a:buClr>
                <a:schemeClr val="tx2"/>
              </a:buClr>
            </a:pPr>
            <a:r>
              <a:rPr lang="is-IS" sz="12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extir á 7 daga veðlánum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3C42C561-2F3A-4106-97CA-2135D174F100}"/>
              </a:ext>
            </a:extLst>
          </p:cNvPr>
          <p:cNvCxnSpPr>
            <a:cxnSpLocks/>
          </p:cNvCxnSpPr>
          <p:nvPr/>
        </p:nvCxnSpPr>
        <p:spPr>
          <a:xfrm flipH="1">
            <a:off x="1056000" y="1751157"/>
            <a:ext cx="10080000" cy="0"/>
          </a:xfrm>
          <a:prstGeom prst="line">
            <a:avLst/>
          </a:prstGeom>
          <a:ln w="952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4" name="Chart 123">
            <a:extLst>
              <a:ext uri="{FF2B5EF4-FFF2-40B4-BE49-F238E27FC236}">
                <a16:creationId xmlns:a16="http://schemas.microsoft.com/office/drawing/2014/main" id="{CC2D2C10-C46C-4684-98D0-DF8039139F3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61151007"/>
              </p:ext>
            </p:extLst>
          </p:nvPr>
        </p:nvGraphicFramePr>
        <p:xfrm>
          <a:off x="1227138" y="2087563"/>
          <a:ext cx="9764712" cy="3486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F77A11B0-E283-4A33-9CBE-F177D8AFA93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954713" y="5541963"/>
            <a:ext cx="311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03268D-4B54-4E99-9953-754C605AB7FF}" type="datetime'''20''''''''''1''''5'''''''''''''''''''''''''''''''">
              <a:rPr lang="is-IS" altLang="en-US" sz="1200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is-IS" sz="1200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97843D54-2AA5-4EC2-B5E1-BF2C1DD8857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154113" y="5541963"/>
            <a:ext cx="311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4CA5DF-134A-4B98-B624-AEC74789F6E9}" type="datetime'''''''2''''''''''''0''''''''''''''''''''1''''''''''0'''">
              <a:rPr lang="is-IS" altLang="en-US" sz="1200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is-IS" sz="1200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40CF84F1-7BCE-4D90-98B9-BC0128A2827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130300" y="5068888"/>
            <a:ext cx="777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EC84AF-0AD5-46E9-A148-1630065B7C98}" type="datetime'''''''''''''''''''''''''''''''1'''''''''''''''''''''''''''">
              <a:rPr lang="is-IS" altLang="en-US" sz="1200" smtClean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is-IS" sz="1200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9F27CAB5-B33C-4DCA-9A9D-572F8F8EA9A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112963" y="5541963"/>
            <a:ext cx="311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490C94-2B6E-421C-BCF9-40E4BD64414D}" type="datetime'''''''2''''''01''''1'''''''''''''''''''">
              <a:rPr lang="is-IS" altLang="en-US" sz="1200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is-IS" sz="1200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5CEB3EEF-6C55-45AB-A1DE-06E6FD609B1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875588" y="5541963"/>
            <a:ext cx="311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7991E6-5DDC-4144-A279-4CC8C057A826}" type="datetime'''''''''''''''''''''''''2''''''01''''''''''''''''7'''''''''''">
              <a:rPr lang="is-IS" altLang="en-US" sz="1200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is-IS" sz="1200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CE0D40E-6C1C-483B-8C59-04918DF8E92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073400" y="5541963"/>
            <a:ext cx="311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A75A61-D60F-4EE5-A930-1E23FAF776A4}" type="datetime'''20''''''''''''1''''''''''''''''''''''''''''''''''2'''''">
              <a:rPr lang="is-IS" altLang="en-US" sz="1200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is-IS" sz="1200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41D3B4D6-EFC3-4248-A2DF-7126728D940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94275" y="5541963"/>
            <a:ext cx="311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E8B6DC-317A-4E69-818E-B195EB426D0C}" type="datetime'2''''''0''''''''''''''''''''''''1''''''''''''4'''''''">
              <a:rPr lang="is-IS" altLang="en-US" sz="1200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is-IS" sz="1200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F116B5C4-BA3C-4833-BA8B-23A990E27A4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035425" y="5541963"/>
            <a:ext cx="311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62FD96-77F6-46D9-BD0C-0C6DA1E74DED}" type="datetime'''''''''''''''''''''''2''''''''0''''''1''''''''''''3'''''''">
              <a:rPr lang="is-IS" altLang="en-US" sz="1200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is-IS" sz="1200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F058E452-115D-4367-844B-489989C8903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130300" y="2411413"/>
            <a:ext cx="777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0E64689-C810-4E98-B985-59CE39C94CA0}" type="datetime'''''9'''''''''''''''''''''''''''''''''''''''''''''''''">
              <a:rPr lang="is-IS" altLang="en-US" sz="1200" smtClean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is-IS" sz="1200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46B4738B-AEFF-4315-B250-84A58F7875C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913563" y="5541963"/>
            <a:ext cx="311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C054C2-465C-464F-A2E0-D3432AA573F4}" type="datetime'''''''2''0''''''''''16'''''''''''''''''''''">
              <a:rPr lang="is-IS" altLang="en-US" sz="1200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is-IS" sz="1200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9257845C-02E9-4ABD-BC58-18C778D457C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834438" y="5541963"/>
            <a:ext cx="311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05D9FE-B03E-40D0-B4A7-E5DCACF14613}" type="datetime'''''''''''''''2''''''''''''''''''01''''''8'''''''''">
              <a:rPr lang="is-IS" altLang="en-US" sz="1200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is-IS" sz="1200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056300A7-F16D-4482-8AB8-3057C14FF5C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9794875" y="5541963"/>
            <a:ext cx="311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369FBD-70B3-482A-9DBC-27D1DEFC14C7}" type="datetime'''''''''''''''''''''''''''2''''''''''0''''''''''''''1''''9'">
              <a:rPr lang="is-IS" altLang="en-US" sz="1200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is-IS" sz="1200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56FB7F7F-C43F-4F27-AD36-9667470550A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753725" y="5541963"/>
            <a:ext cx="3111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3C9CC2-4450-422E-AB1C-2A96629451C4}" type="datetime'''''''''''''''''''2''''''02''''''''''''''''''''''''''''''0'''">
              <a:rPr lang="is-IS" altLang="en-US" sz="1200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is-IS" sz="1200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FEBE88F-DF1E-4040-801A-A00F0D9C4E4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30300" y="5400675"/>
            <a:ext cx="777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D02D297-5F66-43D8-A8C7-9626F7807332}" type="datetime'''''''''''''''''''0'''''''''''''''''''">
              <a:rPr lang="is-IS" altLang="en-US" sz="1200" smtClean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is-IS" sz="1200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4EDFEB25-D5F5-4FE3-ACF8-08AD03C683F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130300" y="4737100"/>
            <a:ext cx="777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4E611C8-734E-4A47-85C6-91AA6B0F00C5}" type="datetime'''''''''''''''''''''''''''''''''''''''''''''''''''''''2'''''''">
              <a:rPr lang="is-IS" altLang="en-US" sz="1200" smtClean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is-IS" sz="1200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CEF13FC3-D474-4399-BEAB-214E98F5B11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130300" y="4403725"/>
            <a:ext cx="777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3AA99A1-F557-4B11-A52C-7D054FAC68F9}" type="datetime'''3'''''''''''''''''''''''''''">
              <a:rPr lang="is-IS" altLang="en-US" sz="1200" smtClean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is-IS" sz="1200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1DD6A281-1F45-4049-AF4E-9E0D7B2D18A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130300" y="3740150"/>
            <a:ext cx="777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C017CA9-6137-490F-BE59-E079C7642FD9}" type="datetime'''''''''''''''''''''''''''''''''''''''''''''''''''''''''''''5'">
              <a:rPr lang="is-IS" altLang="en-US" sz="1200" smtClean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is-IS" sz="1200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567593C3-5F2E-4CCA-9D73-D176FEB3C84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130300" y="4071938"/>
            <a:ext cx="777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819B9EB-35BB-4CB2-B9FC-EAD796531B43}" type="datetime'''''''''''''''''''''''''''''''''''''''''''''''''4'''''''''''''">
              <a:rPr lang="is-IS" altLang="en-US" sz="1200" smtClean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is-IS" sz="1200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BBDAF8D-1170-4573-8B7F-1994CF2B382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130300" y="3408363"/>
            <a:ext cx="777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099D654-E5DF-4D68-A34C-2E9960B4F1E8}" type="datetime'''''''''''''''''''''''''''''''''''''''''''''''6'">
              <a:rPr lang="is-IS" altLang="en-US" sz="1200" smtClean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is-IS" sz="1200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6134F020-48FB-4865-BCCE-9608D9456BD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130300" y="3076575"/>
            <a:ext cx="777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42D27AA-1E55-4786-AD37-D4F568D39F99}" type="datetime'''''''7'''''''''''''''''''">
              <a:rPr lang="is-IS" altLang="en-US" sz="1200" smtClean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is-IS" sz="1200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0A28148-FD75-4AE1-9F97-D95AD954E80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130300" y="2743200"/>
            <a:ext cx="777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9213071-8FA5-4190-8946-10AC23442105}" type="datetime'''''''''''''''8'''''''''''''''''">
              <a:rPr lang="is-IS" altLang="en-US" sz="1200" smtClean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is-IS" sz="1200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16FE87E-2122-494E-8F59-8F3F3130FF5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52513" y="2079625"/>
            <a:ext cx="1555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3EBB100-8DCF-45B0-A727-037E6140ED82}" type="datetime'''''''''1''''''''''''''''''''''''''''''''0'''''''''''''''">
              <a:rPr lang="is-IS" altLang="en-US" sz="1200" smtClean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is-IS" sz="1200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E46FE87-732A-43A3-A33F-9DF2E77F635E}"/>
              </a:ext>
            </a:extLst>
          </p:cNvPr>
          <p:cNvSpPr/>
          <p:nvPr/>
        </p:nvSpPr>
        <p:spPr>
          <a:xfrm rot="1575901">
            <a:off x="10267103" y="1195669"/>
            <a:ext cx="1116000" cy="1116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pic>
        <p:nvPicPr>
          <p:cNvPr id="43039" name="Picture 31" descr="Image result for seÃ°labanki Ã­slands logo">
            <a:extLst>
              <a:ext uri="{FF2B5EF4-FFF2-40B4-BE49-F238E27FC236}">
                <a16:creationId xmlns:a16="http://schemas.microsoft.com/office/drawing/2014/main" id="{634E8DD6-0FD1-4B9D-89BA-A9B8581DB6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75901">
            <a:off x="10321103" y="1249669"/>
            <a:ext cx="1008000" cy="1008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Kjarasamningar eru risavaxin breyta í efnahagslegu tilliti</a:t>
            </a:r>
            <a:endParaRPr lang="is-IS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ABAAB365-EDE2-449F-8647-29922BF49938}"/>
              </a:ext>
            </a:extLst>
          </p:cNvPr>
          <p:cNvSpPr txBox="1"/>
          <p:nvPr/>
        </p:nvSpPr>
        <p:spPr>
          <a:xfrm>
            <a:off x="1052513" y="5772150"/>
            <a:ext cx="2341988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000" dirty="0">
                <a:latin typeface="Calibri Light" panose="020F0302020204030204" pitchFamily="34" charset="0"/>
                <a:cs typeface="Calibri Light" panose="020F0302020204030204" pitchFamily="34" charset="0"/>
              </a:rPr>
              <a:t>Útlánsvextir Seðlabanka Íslands eru nú 5,25%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C9B8158-A9A6-4C7E-B0B2-326E4E2B2235}"/>
              </a:ext>
            </a:extLst>
          </p:cNvPr>
          <p:cNvGrpSpPr/>
          <p:nvPr/>
        </p:nvGrpSpPr>
        <p:grpSpPr>
          <a:xfrm>
            <a:off x="8278348" y="3993239"/>
            <a:ext cx="1739512" cy="1346736"/>
            <a:chOff x="8405815" y="3993239"/>
            <a:chExt cx="1739512" cy="1346736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6EC623A8-67F8-4D32-8204-6E2E89BAC246}"/>
                </a:ext>
              </a:extLst>
            </p:cNvPr>
            <p:cNvGrpSpPr/>
            <p:nvPr/>
          </p:nvGrpSpPr>
          <p:grpSpPr>
            <a:xfrm>
              <a:off x="8712021" y="4081087"/>
              <a:ext cx="733425" cy="720725"/>
              <a:chOff x="4994808" y="1865148"/>
              <a:chExt cx="732833" cy="720000"/>
            </a:xfrm>
          </p:grpSpPr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E8BD7A56-00F8-4EF1-8DC9-6118238EBE26}"/>
                  </a:ext>
                </a:extLst>
              </p:cNvPr>
              <p:cNvSpPr/>
              <p:nvPr/>
            </p:nvSpPr>
            <p:spPr>
              <a:xfrm>
                <a:off x="4994808" y="1865148"/>
                <a:ext cx="720000" cy="720000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s-IS"/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B26196A1-0EB9-4CC1-A221-009649824AF7}"/>
                  </a:ext>
                </a:extLst>
              </p:cNvPr>
              <p:cNvSpPr txBox="1"/>
              <p:nvPr/>
            </p:nvSpPr>
            <p:spPr>
              <a:xfrm>
                <a:off x="4995727" y="1955039"/>
                <a:ext cx="731914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is-IS" sz="1200" b="1" dirty="0">
                    <a:solidFill>
                      <a:schemeClr val="bg1"/>
                    </a:solidFill>
                  </a:rPr>
                  <a:t>Kjara-samningar 2014</a:t>
                </a:r>
              </a:p>
            </p:txBody>
          </p:sp>
        </p:grp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727AC005-5938-4169-B1F5-8A60CD1983BD}"/>
                </a:ext>
              </a:extLst>
            </p:cNvPr>
            <p:cNvSpPr/>
            <p:nvPr/>
          </p:nvSpPr>
          <p:spPr>
            <a:xfrm>
              <a:off x="8405815" y="3993239"/>
              <a:ext cx="1739512" cy="134673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/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1C58B4F9-2FAF-4D33-BCAA-7F917527E9E8}"/>
                </a:ext>
              </a:extLst>
            </p:cNvPr>
            <p:cNvSpPr txBox="1"/>
            <p:nvPr/>
          </p:nvSpPr>
          <p:spPr>
            <a:xfrm>
              <a:off x="8462969" y="4769131"/>
              <a:ext cx="1625204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is-IS" sz="1200" b="1" dirty="0">
                  <a:solidFill>
                    <a:schemeClr val="accent3"/>
                  </a:solidFill>
                </a:rPr>
                <a:t>Kjarasamningar 2019</a:t>
              </a:r>
              <a:r>
                <a:rPr lang="is-IS" sz="1100" b="1" dirty="0">
                  <a:solidFill>
                    <a:schemeClr val="accent3"/>
                  </a:solidFill>
                </a:rPr>
                <a:t> </a:t>
              </a:r>
              <a:r>
                <a:rPr lang="is-IS" sz="1100" dirty="0">
                  <a:solidFill>
                    <a:schemeClr val="tx2"/>
                  </a:solidFill>
                </a:rPr>
                <a:t>skapi forsendur fyrir </a:t>
              </a:r>
              <a:r>
                <a:rPr lang="is-IS" sz="1100" b="1" dirty="0">
                  <a:solidFill>
                    <a:schemeClr val="tx2"/>
                  </a:solidFill>
                </a:rPr>
                <a:t>vaxtalækkun</a:t>
              </a:r>
              <a:endParaRPr lang="is-IS" sz="1200" b="1" dirty="0">
                <a:solidFill>
                  <a:schemeClr val="tx2"/>
                </a:solidFill>
              </a:endParaRPr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265C0425-C3E8-4128-96BD-E5D501A00A41}"/>
                </a:ext>
              </a:extLst>
            </p:cNvPr>
            <p:cNvGrpSpPr/>
            <p:nvPr/>
          </p:nvGrpSpPr>
          <p:grpSpPr>
            <a:xfrm>
              <a:off x="8570855" y="4039595"/>
              <a:ext cx="602104" cy="644217"/>
              <a:chOff x="269999" y="2144846"/>
              <a:chExt cx="602104" cy="644217"/>
            </a:xfrm>
          </p:grpSpPr>
          <p:pic>
            <p:nvPicPr>
              <p:cNvPr id="83" name="Picture 8" descr="Related image">
                <a:extLst>
                  <a:ext uri="{FF2B5EF4-FFF2-40B4-BE49-F238E27FC236}">
                    <a16:creationId xmlns:a16="http://schemas.microsoft.com/office/drawing/2014/main" id="{71A87279-231A-4B0C-8187-2CE81CB3C5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9999" y="2249063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8EF922B0-7FAD-4920-9168-A5C646401877}"/>
                  </a:ext>
                </a:extLst>
              </p:cNvPr>
              <p:cNvGrpSpPr/>
              <p:nvPr/>
            </p:nvGrpSpPr>
            <p:grpSpPr>
              <a:xfrm>
                <a:off x="592841" y="2144846"/>
                <a:ext cx="279262" cy="279262"/>
                <a:chOff x="4328889" y="3523481"/>
                <a:chExt cx="360000" cy="360000"/>
              </a:xfrm>
              <a:effectLst/>
            </p:grpSpPr>
            <p:sp>
              <p:nvSpPr>
                <p:cNvPr id="85" name="Oval 84">
                  <a:extLst>
                    <a:ext uri="{FF2B5EF4-FFF2-40B4-BE49-F238E27FC236}">
                      <a16:creationId xmlns:a16="http://schemas.microsoft.com/office/drawing/2014/main" id="{8E67FC5F-F34E-4CAD-846C-494F4E9F9390}"/>
                    </a:ext>
                  </a:extLst>
                </p:cNvPr>
                <p:cNvSpPr/>
                <p:nvPr/>
              </p:nvSpPr>
              <p:spPr>
                <a:xfrm>
                  <a:off x="4328889" y="3523481"/>
                  <a:ext cx="360000" cy="360000"/>
                </a:xfrm>
                <a:prstGeom prst="ellipse">
                  <a:avLst/>
                </a:prstGeom>
                <a:solidFill>
                  <a:srgbClr val="00B050"/>
                </a:solidFill>
                <a:ln w="15875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s-IS" dirty="0"/>
                </a:p>
              </p:txBody>
            </p:sp>
            <p:sp>
              <p:nvSpPr>
                <p:cNvPr id="89" name="Freeform 1023">
                  <a:extLst>
                    <a:ext uri="{FF2B5EF4-FFF2-40B4-BE49-F238E27FC236}">
                      <a16:creationId xmlns:a16="http://schemas.microsoft.com/office/drawing/2014/main" id="{E72513BA-9836-44CF-A7F9-9F8570168B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95839" y="3604562"/>
                  <a:ext cx="226101" cy="197839"/>
                </a:xfrm>
                <a:custGeom>
                  <a:avLst/>
                  <a:gdLst>
                    <a:gd name="T0" fmla="*/ 0 w 648"/>
                    <a:gd name="T1" fmla="*/ 374 h 618"/>
                    <a:gd name="T2" fmla="*/ 88 w 648"/>
                    <a:gd name="T3" fmla="*/ 320 h 618"/>
                    <a:gd name="T4" fmla="*/ 122 w 648"/>
                    <a:gd name="T5" fmla="*/ 340 h 618"/>
                    <a:gd name="T6" fmla="*/ 184 w 648"/>
                    <a:gd name="T7" fmla="*/ 452 h 618"/>
                    <a:gd name="T8" fmla="*/ 278 w 648"/>
                    <a:gd name="T9" fmla="*/ 316 h 618"/>
                    <a:gd name="T10" fmla="*/ 434 w 648"/>
                    <a:gd name="T11" fmla="*/ 148 h 618"/>
                    <a:gd name="T12" fmla="*/ 534 w 648"/>
                    <a:gd name="T13" fmla="*/ 60 h 618"/>
                    <a:gd name="T14" fmla="*/ 632 w 648"/>
                    <a:gd name="T15" fmla="*/ 0 h 618"/>
                    <a:gd name="T16" fmla="*/ 648 w 648"/>
                    <a:gd name="T17" fmla="*/ 26 h 618"/>
                    <a:gd name="T18" fmla="*/ 566 w 648"/>
                    <a:gd name="T19" fmla="*/ 98 h 618"/>
                    <a:gd name="T20" fmla="*/ 448 w 648"/>
                    <a:gd name="T21" fmla="*/ 230 h 618"/>
                    <a:gd name="T22" fmla="*/ 346 w 648"/>
                    <a:gd name="T23" fmla="*/ 360 h 618"/>
                    <a:gd name="T24" fmla="*/ 234 w 648"/>
                    <a:gd name="T25" fmla="*/ 554 h 618"/>
                    <a:gd name="T26" fmla="*/ 144 w 648"/>
                    <a:gd name="T27" fmla="*/ 618 h 618"/>
                    <a:gd name="T28" fmla="*/ 82 w 648"/>
                    <a:gd name="T29" fmla="*/ 466 h 618"/>
                    <a:gd name="T30" fmla="*/ 42 w 648"/>
                    <a:gd name="T31" fmla="*/ 404 h 618"/>
                    <a:gd name="T32" fmla="*/ 0 w 648"/>
                    <a:gd name="T33" fmla="*/ 374 h 6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  <p:txBody>
                <a:bodyPr wrap="none" anchor="ctr"/>
                <a:lstStyle/>
                <a:p>
                  <a:endParaRPr lang="is-IS"/>
                </a:p>
              </p:txBody>
            </p:sp>
          </p:grpSp>
        </p:grp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C03F118C-1D8A-45DD-A325-56D948C30251}"/>
                </a:ext>
              </a:extLst>
            </p:cNvPr>
            <p:cNvSpPr txBox="1"/>
            <p:nvPr/>
          </p:nvSpPr>
          <p:spPr>
            <a:xfrm>
              <a:off x="9185802" y="4198368"/>
              <a:ext cx="179536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just"/>
              <a:r>
                <a:rPr lang="is-IS" sz="2800" b="1" dirty="0">
                  <a:solidFill>
                    <a:schemeClr val="accent4"/>
                  </a:solidFill>
                </a:rPr>
                <a:t>=</a:t>
              </a:r>
            </a:p>
          </p:txBody>
        </p:sp>
        <p:sp>
          <p:nvSpPr>
            <p:cNvPr id="81" name="Arrow: Up 80">
              <a:extLst>
                <a:ext uri="{FF2B5EF4-FFF2-40B4-BE49-F238E27FC236}">
                  <a16:creationId xmlns:a16="http://schemas.microsoft.com/office/drawing/2014/main" id="{37C76505-1D2C-4507-833E-51946225156F}"/>
                </a:ext>
              </a:extLst>
            </p:cNvPr>
            <p:cNvSpPr/>
            <p:nvPr/>
          </p:nvSpPr>
          <p:spPr>
            <a:xfrm rot="10800000">
              <a:off x="9422201" y="4163922"/>
              <a:ext cx="371332" cy="525040"/>
            </a:xfrm>
            <a:prstGeom prst="upArrow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52DE17E4-CB2A-4104-90CF-DC1780D7A628}"/>
                </a:ext>
              </a:extLst>
            </p:cNvPr>
            <p:cNvSpPr txBox="1"/>
            <p:nvPr/>
          </p:nvSpPr>
          <p:spPr>
            <a:xfrm>
              <a:off x="9543564" y="4100331"/>
              <a:ext cx="373500" cy="61555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just"/>
              <a:r>
                <a:rPr lang="is-IS" sz="4000" b="1" dirty="0">
                  <a:ln>
                    <a:solidFill>
                      <a:schemeClr val="bg1"/>
                    </a:solidFill>
                  </a:ln>
                  <a:solidFill>
                    <a:schemeClr val="accent4"/>
                  </a:solidFill>
                </a:rPr>
                <a:t>%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EEF4165-2ED7-45FB-A801-3179D405D47B}"/>
              </a:ext>
            </a:extLst>
          </p:cNvPr>
          <p:cNvCxnSpPr/>
          <p:nvPr/>
        </p:nvCxnSpPr>
        <p:spPr>
          <a:xfrm>
            <a:off x="10169155" y="4060233"/>
            <a:ext cx="749540" cy="0"/>
          </a:xfrm>
          <a:prstGeom prst="line">
            <a:avLst/>
          </a:prstGeom>
          <a:ln w="76200" cap="rnd">
            <a:solidFill>
              <a:schemeClr val="accent6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D80A99C9-23C8-4337-9400-512D6122756C}"/>
              </a:ext>
            </a:extLst>
          </p:cNvPr>
          <p:cNvCxnSpPr>
            <a:cxnSpLocks/>
            <a:endCxn id="77" idx="3"/>
          </p:cNvCxnSpPr>
          <p:nvPr/>
        </p:nvCxnSpPr>
        <p:spPr>
          <a:xfrm flipH="1">
            <a:off x="10017860" y="4060233"/>
            <a:ext cx="453290" cy="606374"/>
          </a:xfrm>
          <a:prstGeom prst="straightConnector1">
            <a:avLst/>
          </a:prstGeom>
          <a:ln w="9525">
            <a:solidFill>
              <a:schemeClr val="accent3"/>
            </a:solidFill>
            <a:headEnd type="oval" w="sm" len="sm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B774EB46-AF0E-4F5B-8E7A-7BBC8B146280}"/>
              </a:ext>
            </a:extLst>
          </p:cNvPr>
          <p:cNvCxnSpPr>
            <a:cxnSpLocks/>
          </p:cNvCxnSpPr>
          <p:nvPr/>
        </p:nvCxnSpPr>
        <p:spPr>
          <a:xfrm>
            <a:off x="2592585" y="3297675"/>
            <a:ext cx="0" cy="774263"/>
          </a:xfrm>
          <a:prstGeom prst="straightConnector1">
            <a:avLst/>
          </a:prstGeom>
          <a:ln w="9525">
            <a:solidFill>
              <a:schemeClr val="accent6"/>
            </a:solidFill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0E8211F-F66F-4A6D-96FA-2192D3456475}"/>
              </a:ext>
            </a:extLst>
          </p:cNvPr>
          <p:cNvGrpSpPr/>
          <p:nvPr/>
        </p:nvGrpSpPr>
        <p:grpSpPr>
          <a:xfrm>
            <a:off x="2169881" y="1939602"/>
            <a:ext cx="1476499" cy="1346736"/>
            <a:chOff x="2169881" y="2162667"/>
            <a:chExt cx="1476499" cy="1346736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85250522-DFFC-42DC-BB91-5EE9B5A5946C}"/>
                </a:ext>
              </a:extLst>
            </p:cNvPr>
            <p:cNvSpPr/>
            <p:nvPr/>
          </p:nvSpPr>
          <p:spPr>
            <a:xfrm>
              <a:off x="2169881" y="2162667"/>
              <a:ext cx="1476499" cy="134673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/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F4D99769-38DF-46D2-917D-9AB26A61EC29}"/>
                </a:ext>
              </a:extLst>
            </p:cNvPr>
            <p:cNvSpPr txBox="1"/>
            <p:nvPr/>
          </p:nvSpPr>
          <p:spPr>
            <a:xfrm>
              <a:off x="2169883" y="2938559"/>
              <a:ext cx="1476495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is-IS" sz="1200" b="1" dirty="0">
                  <a:solidFill>
                    <a:schemeClr val="accent4"/>
                  </a:solidFill>
                </a:rPr>
                <a:t>Kjarasamningar 2011</a:t>
              </a:r>
            </a:p>
            <a:p>
              <a:pPr algn="ctr"/>
              <a:r>
                <a:rPr lang="is-IS" sz="1100" dirty="0">
                  <a:solidFill>
                    <a:schemeClr val="tx2"/>
                  </a:solidFill>
                </a:rPr>
                <a:t>Seðlabankinn brást við með vaxtahækkun</a:t>
              </a: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7F7D4B6B-C378-4935-95CB-725109A5FBE5}"/>
                </a:ext>
              </a:extLst>
            </p:cNvPr>
            <p:cNvGrpSpPr/>
            <p:nvPr/>
          </p:nvGrpSpPr>
          <p:grpSpPr>
            <a:xfrm>
              <a:off x="2203415" y="2209023"/>
              <a:ext cx="602104" cy="644217"/>
              <a:chOff x="269999" y="2144846"/>
              <a:chExt cx="602104" cy="644217"/>
            </a:xfrm>
          </p:grpSpPr>
          <p:pic>
            <p:nvPicPr>
              <p:cNvPr id="135" name="Picture 8" descr="Related image">
                <a:extLst>
                  <a:ext uri="{FF2B5EF4-FFF2-40B4-BE49-F238E27FC236}">
                    <a16:creationId xmlns:a16="http://schemas.microsoft.com/office/drawing/2014/main" id="{B8DBF946-D1D1-4AA9-B545-BA9689176C7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9999" y="2249063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3FB1632A-EC51-4CF2-B6F1-844B5E9BACDC}"/>
                  </a:ext>
                </a:extLst>
              </p:cNvPr>
              <p:cNvGrpSpPr/>
              <p:nvPr/>
            </p:nvGrpSpPr>
            <p:grpSpPr>
              <a:xfrm>
                <a:off x="592841" y="2144846"/>
                <a:ext cx="279262" cy="279262"/>
                <a:chOff x="4328889" y="3523481"/>
                <a:chExt cx="360000" cy="360000"/>
              </a:xfrm>
              <a:effectLst/>
            </p:grpSpPr>
            <p:sp>
              <p:nvSpPr>
                <p:cNvPr id="145" name="Oval 144">
                  <a:extLst>
                    <a:ext uri="{FF2B5EF4-FFF2-40B4-BE49-F238E27FC236}">
                      <a16:creationId xmlns:a16="http://schemas.microsoft.com/office/drawing/2014/main" id="{51AB6D83-4129-4534-9B6E-F09780B3D83C}"/>
                    </a:ext>
                  </a:extLst>
                </p:cNvPr>
                <p:cNvSpPr/>
                <p:nvPr/>
              </p:nvSpPr>
              <p:spPr>
                <a:xfrm>
                  <a:off x="4328889" y="3523481"/>
                  <a:ext cx="360000" cy="360000"/>
                </a:xfrm>
                <a:prstGeom prst="ellipse">
                  <a:avLst/>
                </a:prstGeom>
                <a:solidFill>
                  <a:srgbClr val="00B050"/>
                </a:solidFill>
                <a:ln w="15875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s-IS" dirty="0"/>
                </a:p>
              </p:txBody>
            </p:sp>
            <p:sp>
              <p:nvSpPr>
                <p:cNvPr id="147" name="Freeform 1023">
                  <a:extLst>
                    <a:ext uri="{FF2B5EF4-FFF2-40B4-BE49-F238E27FC236}">
                      <a16:creationId xmlns:a16="http://schemas.microsoft.com/office/drawing/2014/main" id="{59BC9B5B-B843-4DA0-9F37-F824A125E3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95839" y="3604562"/>
                  <a:ext cx="226101" cy="197839"/>
                </a:xfrm>
                <a:custGeom>
                  <a:avLst/>
                  <a:gdLst>
                    <a:gd name="T0" fmla="*/ 0 w 648"/>
                    <a:gd name="T1" fmla="*/ 374 h 618"/>
                    <a:gd name="T2" fmla="*/ 88 w 648"/>
                    <a:gd name="T3" fmla="*/ 320 h 618"/>
                    <a:gd name="T4" fmla="*/ 122 w 648"/>
                    <a:gd name="T5" fmla="*/ 340 h 618"/>
                    <a:gd name="T6" fmla="*/ 184 w 648"/>
                    <a:gd name="T7" fmla="*/ 452 h 618"/>
                    <a:gd name="T8" fmla="*/ 278 w 648"/>
                    <a:gd name="T9" fmla="*/ 316 h 618"/>
                    <a:gd name="T10" fmla="*/ 434 w 648"/>
                    <a:gd name="T11" fmla="*/ 148 h 618"/>
                    <a:gd name="T12" fmla="*/ 534 w 648"/>
                    <a:gd name="T13" fmla="*/ 60 h 618"/>
                    <a:gd name="T14" fmla="*/ 632 w 648"/>
                    <a:gd name="T15" fmla="*/ 0 h 618"/>
                    <a:gd name="T16" fmla="*/ 648 w 648"/>
                    <a:gd name="T17" fmla="*/ 26 h 618"/>
                    <a:gd name="T18" fmla="*/ 566 w 648"/>
                    <a:gd name="T19" fmla="*/ 98 h 618"/>
                    <a:gd name="T20" fmla="*/ 448 w 648"/>
                    <a:gd name="T21" fmla="*/ 230 h 618"/>
                    <a:gd name="T22" fmla="*/ 346 w 648"/>
                    <a:gd name="T23" fmla="*/ 360 h 618"/>
                    <a:gd name="T24" fmla="*/ 234 w 648"/>
                    <a:gd name="T25" fmla="*/ 554 h 618"/>
                    <a:gd name="T26" fmla="*/ 144 w 648"/>
                    <a:gd name="T27" fmla="*/ 618 h 618"/>
                    <a:gd name="T28" fmla="*/ 82 w 648"/>
                    <a:gd name="T29" fmla="*/ 466 h 618"/>
                    <a:gd name="T30" fmla="*/ 42 w 648"/>
                    <a:gd name="T31" fmla="*/ 404 h 618"/>
                    <a:gd name="T32" fmla="*/ 0 w 648"/>
                    <a:gd name="T33" fmla="*/ 374 h 6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  <p:txBody>
                <a:bodyPr wrap="none" anchor="ctr"/>
                <a:lstStyle/>
                <a:p>
                  <a:endParaRPr lang="is-IS"/>
                </a:p>
              </p:txBody>
            </p:sp>
          </p:grpSp>
        </p:grp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4A341CD0-51A6-4D3C-B4E6-1DFDE7EADED6}"/>
                </a:ext>
              </a:extLst>
            </p:cNvPr>
            <p:cNvSpPr txBox="1"/>
            <p:nvPr/>
          </p:nvSpPr>
          <p:spPr>
            <a:xfrm>
              <a:off x="2818362" y="2367796"/>
              <a:ext cx="179536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just"/>
              <a:r>
                <a:rPr lang="is-IS" sz="2800" b="1" dirty="0">
                  <a:solidFill>
                    <a:schemeClr val="accent6"/>
                  </a:solidFill>
                </a:rPr>
                <a:t>=</a:t>
              </a:r>
            </a:p>
          </p:txBody>
        </p:sp>
        <p:sp>
          <p:nvSpPr>
            <p:cNvPr id="133" name="Arrow: Up 132">
              <a:extLst>
                <a:ext uri="{FF2B5EF4-FFF2-40B4-BE49-F238E27FC236}">
                  <a16:creationId xmlns:a16="http://schemas.microsoft.com/office/drawing/2014/main" id="{E921DF9A-678F-4FA9-A195-5E5E9741831E}"/>
                </a:ext>
              </a:extLst>
            </p:cNvPr>
            <p:cNvSpPr/>
            <p:nvPr/>
          </p:nvSpPr>
          <p:spPr>
            <a:xfrm>
              <a:off x="3054761" y="2288453"/>
              <a:ext cx="371332" cy="525040"/>
            </a:xfrm>
            <a:prstGeom prst="upArrow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/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6EC1293A-190F-4C4D-A78A-890104A3FD4A}"/>
                </a:ext>
              </a:extLst>
            </p:cNvPr>
            <p:cNvSpPr txBox="1"/>
            <p:nvPr/>
          </p:nvSpPr>
          <p:spPr>
            <a:xfrm>
              <a:off x="3176124" y="2269759"/>
              <a:ext cx="373500" cy="61555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just"/>
              <a:r>
                <a:rPr lang="is-IS" sz="4000" b="1" dirty="0">
                  <a:ln>
                    <a:solidFill>
                      <a:schemeClr val="bg1"/>
                    </a:solidFill>
                  </a:ln>
                  <a:solidFill>
                    <a:schemeClr val="accent4"/>
                  </a:solidFill>
                </a:rPr>
                <a:t>%</a:t>
              </a:r>
            </a:p>
          </p:txBody>
        </p:sp>
      </p:grp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92BF19A0-86DB-421C-A7D9-DA193EE782DC}"/>
              </a:ext>
            </a:extLst>
          </p:cNvPr>
          <p:cNvCxnSpPr>
            <a:cxnSpLocks/>
          </p:cNvCxnSpPr>
          <p:nvPr/>
        </p:nvCxnSpPr>
        <p:spPr>
          <a:xfrm>
            <a:off x="5393867" y="3500070"/>
            <a:ext cx="0" cy="539525"/>
          </a:xfrm>
          <a:prstGeom prst="straightConnector1">
            <a:avLst/>
          </a:prstGeom>
          <a:ln w="9525">
            <a:solidFill>
              <a:schemeClr val="accent6"/>
            </a:solidFill>
            <a:headEnd type="oval" w="sm" len="sm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3011FE4E-E40D-4EDC-88D8-D546C246C0E0}"/>
              </a:ext>
            </a:extLst>
          </p:cNvPr>
          <p:cNvGrpSpPr/>
          <p:nvPr/>
        </p:nvGrpSpPr>
        <p:grpSpPr>
          <a:xfrm>
            <a:off x="4494662" y="3993239"/>
            <a:ext cx="1476499" cy="1346736"/>
            <a:chOff x="4459213" y="4766071"/>
            <a:chExt cx="1476499" cy="1346736"/>
          </a:xfrm>
        </p:grpSpPr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3416FF88-93D1-4A48-94BA-CE7F80509173}"/>
                </a:ext>
              </a:extLst>
            </p:cNvPr>
            <p:cNvGrpSpPr/>
            <p:nvPr/>
          </p:nvGrpSpPr>
          <p:grpSpPr>
            <a:xfrm>
              <a:off x="4633913" y="4853919"/>
              <a:ext cx="733425" cy="720725"/>
              <a:chOff x="4994808" y="1865148"/>
              <a:chExt cx="732833" cy="720000"/>
            </a:xfrm>
          </p:grpSpPr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D7BA328C-538A-41CB-928C-058FCE7680D3}"/>
                  </a:ext>
                </a:extLst>
              </p:cNvPr>
              <p:cNvSpPr/>
              <p:nvPr/>
            </p:nvSpPr>
            <p:spPr>
              <a:xfrm>
                <a:off x="4994808" y="1865148"/>
                <a:ext cx="720000" cy="720000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s-IS"/>
              </a:p>
            </p:txBody>
          </p: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DACB6523-E482-492C-BAAA-5503C487E51D}"/>
                  </a:ext>
                </a:extLst>
              </p:cNvPr>
              <p:cNvSpPr txBox="1"/>
              <p:nvPr/>
            </p:nvSpPr>
            <p:spPr>
              <a:xfrm>
                <a:off x="4995727" y="1955039"/>
                <a:ext cx="731914" cy="5539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is-IS" sz="1200" b="1" dirty="0">
                    <a:solidFill>
                      <a:schemeClr val="bg1"/>
                    </a:solidFill>
                  </a:rPr>
                  <a:t>Kjara-samningar 2014</a:t>
                </a:r>
              </a:p>
            </p:txBody>
          </p:sp>
        </p:grp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90EA67BE-DCE3-4CB2-8E8F-720410078451}"/>
                </a:ext>
              </a:extLst>
            </p:cNvPr>
            <p:cNvSpPr/>
            <p:nvPr/>
          </p:nvSpPr>
          <p:spPr>
            <a:xfrm>
              <a:off x="4459213" y="4766071"/>
              <a:ext cx="1476499" cy="134673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/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15DFA5BD-F0EC-41DE-BF47-A3ECC7CC3F32}"/>
                </a:ext>
              </a:extLst>
            </p:cNvPr>
            <p:cNvSpPr txBox="1"/>
            <p:nvPr/>
          </p:nvSpPr>
          <p:spPr>
            <a:xfrm>
              <a:off x="4459215" y="5541963"/>
              <a:ext cx="1476495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is-IS" sz="1200" b="1" dirty="0">
                  <a:solidFill>
                    <a:schemeClr val="accent4"/>
                  </a:solidFill>
                </a:rPr>
                <a:t>Kjarasamningar 2014</a:t>
              </a:r>
            </a:p>
            <a:p>
              <a:pPr algn="ctr"/>
              <a:r>
                <a:rPr lang="is-IS" sz="1100" dirty="0">
                  <a:solidFill>
                    <a:schemeClr val="tx2"/>
                  </a:solidFill>
                </a:rPr>
                <a:t>Seðlabankinn brást við með </a:t>
              </a:r>
              <a:r>
                <a:rPr lang="is-IS" sz="1100" b="1" dirty="0">
                  <a:solidFill>
                    <a:schemeClr val="tx2"/>
                  </a:solidFill>
                </a:rPr>
                <a:t>vaxtalækkun</a:t>
              </a:r>
            </a:p>
          </p:txBody>
        </p: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6007134D-A96B-4ED4-8858-AA79DEFEB8AC}"/>
                </a:ext>
              </a:extLst>
            </p:cNvPr>
            <p:cNvGrpSpPr/>
            <p:nvPr/>
          </p:nvGrpSpPr>
          <p:grpSpPr>
            <a:xfrm>
              <a:off x="4492747" y="4812427"/>
              <a:ext cx="602104" cy="644217"/>
              <a:chOff x="269999" y="2144846"/>
              <a:chExt cx="602104" cy="644217"/>
            </a:xfrm>
          </p:grpSpPr>
          <p:pic>
            <p:nvPicPr>
              <p:cNvPr id="157" name="Picture 8" descr="Related image">
                <a:extLst>
                  <a:ext uri="{FF2B5EF4-FFF2-40B4-BE49-F238E27FC236}">
                    <a16:creationId xmlns:a16="http://schemas.microsoft.com/office/drawing/2014/main" id="{B8D6D04C-F70D-4614-B2F3-77E46CA8B88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9999" y="2249063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58" name="Group 157">
                <a:extLst>
                  <a:ext uri="{FF2B5EF4-FFF2-40B4-BE49-F238E27FC236}">
                    <a16:creationId xmlns:a16="http://schemas.microsoft.com/office/drawing/2014/main" id="{E1BBEEF8-647B-4CA0-82FE-CED68A91F225}"/>
                  </a:ext>
                </a:extLst>
              </p:cNvPr>
              <p:cNvGrpSpPr/>
              <p:nvPr/>
            </p:nvGrpSpPr>
            <p:grpSpPr>
              <a:xfrm>
                <a:off x="592841" y="2144846"/>
                <a:ext cx="279262" cy="279262"/>
                <a:chOff x="4328889" y="3523481"/>
                <a:chExt cx="360000" cy="360000"/>
              </a:xfrm>
              <a:effectLst/>
            </p:grpSpPr>
            <p:sp>
              <p:nvSpPr>
                <p:cNvPr id="159" name="Oval 158">
                  <a:extLst>
                    <a:ext uri="{FF2B5EF4-FFF2-40B4-BE49-F238E27FC236}">
                      <a16:creationId xmlns:a16="http://schemas.microsoft.com/office/drawing/2014/main" id="{F5AB6058-872E-4B6B-82D3-C0D2F6B0E15E}"/>
                    </a:ext>
                  </a:extLst>
                </p:cNvPr>
                <p:cNvSpPr/>
                <p:nvPr/>
              </p:nvSpPr>
              <p:spPr>
                <a:xfrm>
                  <a:off x="4328889" y="3523481"/>
                  <a:ext cx="360000" cy="360000"/>
                </a:xfrm>
                <a:prstGeom prst="ellipse">
                  <a:avLst/>
                </a:prstGeom>
                <a:solidFill>
                  <a:srgbClr val="00B050"/>
                </a:solidFill>
                <a:ln w="15875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s-IS" dirty="0"/>
                </a:p>
              </p:txBody>
            </p:sp>
            <p:sp>
              <p:nvSpPr>
                <p:cNvPr id="161" name="Freeform 1023">
                  <a:extLst>
                    <a:ext uri="{FF2B5EF4-FFF2-40B4-BE49-F238E27FC236}">
                      <a16:creationId xmlns:a16="http://schemas.microsoft.com/office/drawing/2014/main" id="{7037F904-272D-439D-B836-B1AFA8BAB4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95839" y="3604562"/>
                  <a:ext cx="226101" cy="197839"/>
                </a:xfrm>
                <a:custGeom>
                  <a:avLst/>
                  <a:gdLst>
                    <a:gd name="T0" fmla="*/ 0 w 648"/>
                    <a:gd name="T1" fmla="*/ 374 h 618"/>
                    <a:gd name="T2" fmla="*/ 88 w 648"/>
                    <a:gd name="T3" fmla="*/ 320 h 618"/>
                    <a:gd name="T4" fmla="*/ 122 w 648"/>
                    <a:gd name="T5" fmla="*/ 340 h 618"/>
                    <a:gd name="T6" fmla="*/ 184 w 648"/>
                    <a:gd name="T7" fmla="*/ 452 h 618"/>
                    <a:gd name="T8" fmla="*/ 278 w 648"/>
                    <a:gd name="T9" fmla="*/ 316 h 618"/>
                    <a:gd name="T10" fmla="*/ 434 w 648"/>
                    <a:gd name="T11" fmla="*/ 148 h 618"/>
                    <a:gd name="T12" fmla="*/ 534 w 648"/>
                    <a:gd name="T13" fmla="*/ 60 h 618"/>
                    <a:gd name="T14" fmla="*/ 632 w 648"/>
                    <a:gd name="T15" fmla="*/ 0 h 618"/>
                    <a:gd name="T16" fmla="*/ 648 w 648"/>
                    <a:gd name="T17" fmla="*/ 26 h 618"/>
                    <a:gd name="T18" fmla="*/ 566 w 648"/>
                    <a:gd name="T19" fmla="*/ 98 h 618"/>
                    <a:gd name="T20" fmla="*/ 448 w 648"/>
                    <a:gd name="T21" fmla="*/ 230 h 618"/>
                    <a:gd name="T22" fmla="*/ 346 w 648"/>
                    <a:gd name="T23" fmla="*/ 360 h 618"/>
                    <a:gd name="T24" fmla="*/ 234 w 648"/>
                    <a:gd name="T25" fmla="*/ 554 h 618"/>
                    <a:gd name="T26" fmla="*/ 144 w 648"/>
                    <a:gd name="T27" fmla="*/ 618 h 618"/>
                    <a:gd name="T28" fmla="*/ 82 w 648"/>
                    <a:gd name="T29" fmla="*/ 466 h 618"/>
                    <a:gd name="T30" fmla="*/ 42 w 648"/>
                    <a:gd name="T31" fmla="*/ 404 h 618"/>
                    <a:gd name="T32" fmla="*/ 0 w 648"/>
                    <a:gd name="T33" fmla="*/ 374 h 6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  <p:txBody>
                <a:bodyPr wrap="none" anchor="ctr"/>
                <a:lstStyle/>
                <a:p>
                  <a:endParaRPr lang="is-IS"/>
                </a:p>
              </p:txBody>
            </p:sp>
          </p:grpSp>
        </p:grp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E8862D39-FD84-4D5B-8CFC-41722B032C60}"/>
                </a:ext>
              </a:extLst>
            </p:cNvPr>
            <p:cNvSpPr txBox="1"/>
            <p:nvPr/>
          </p:nvSpPr>
          <p:spPr>
            <a:xfrm>
              <a:off x="5107694" y="4971200"/>
              <a:ext cx="179536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just"/>
              <a:r>
                <a:rPr lang="is-IS" sz="2800" b="1" dirty="0">
                  <a:solidFill>
                    <a:schemeClr val="accent6"/>
                  </a:solidFill>
                </a:rPr>
                <a:t>=</a:t>
              </a:r>
            </a:p>
          </p:txBody>
        </p:sp>
        <p:sp>
          <p:nvSpPr>
            <p:cNvPr id="155" name="Arrow: Up 154">
              <a:extLst>
                <a:ext uri="{FF2B5EF4-FFF2-40B4-BE49-F238E27FC236}">
                  <a16:creationId xmlns:a16="http://schemas.microsoft.com/office/drawing/2014/main" id="{61BDE484-CF44-4D2F-BBAD-477212DAF524}"/>
                </a:ext>
              </a:extLst>
            </p:cNvPr>
            <p:cNvSpPr/>
            <p:nvPr/>
          </p:nvSpPr>
          <p:spPr>
            <a:xfrm rot="10800000">
              <a:off x="5344093" y="4936754"/>
              <a:ext cx="371332" cy="525040"/>
            </a:xfrm>
            <a:prstGeom prst="upArrow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0E3E2125-7E1D-4B3F-89BD-F970944ABF2F}"/>
                </a:ext>
              </a:extLst>
            </p:cNvPr>
            <p:cNvSpPr txBox="1"/>
            <p:nvPr/>
          </p:nvSpPr>
          <p:spPr>
            <a:xfrm>
              <a:off x="5465456" y="4873163"/>
              <a:ext cx="373500" cy="61555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just"/>
              <a:r>
                <a:rPr lang="is-IS" sz="4000" b="1" dirty="0">
                  <a:ln>
                    <a:solidFill>
                      <a:schemeClr val="bg1"/>
                    </a:solidFill>
                  </a:ln>
                  <a:solidFill>
                    <a:schemeClr val="accent4"/>
                  </a:solidFill>
                </a:rPr>
                <a:t>%</a:t>
              </a:r>
            </a:p>
          </p:txBody>
        </p:sp>
      </p:grp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AEABD3E0-E6E9-422D-AA41-E899D5706551}"/>
              </a:ext>
            </a:extLst>
          </p:cNvPr>
          <p:cNvCxnSpPr>
            <a:cxnSpLocks/>
          </p:cNvCxnSpPr>
          <p:nvPr/>
        </p:nvCxnSpPr>
        <p:spPr>
          <a:xfrm>
            <a:off x="6265863" y="3297675"/>
            <a:ext cx="0" cy="442475"/>
          </a:xfrm>
          <a:prstGeom prst="straightConnector1">
            <a:avLst/>
          </a:prstGeom>
          <a:ln w="9525">
            <a:solidFill>
              <a:schemeClr val="accent6"/>
            </a:solidFill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09859133-7A61-4814-A6D5-051F5C2C0498}"/>
              </a:ext>
            </a:extLst>
          </p:cNvPr>
          <p:cNvGrpSpPr/>
          <p:nvPr/>
        </p:nvGrpSpPr>
        <p:grpSpPr>
          <a:xfrm>
            <a:off x="5149850" y="1950939"/>
            <a:ext cx="1476499" cy="1346736"/>
            <a:chOff x="5527613" y="2174004"/>
            <a:chExt cx="1476499" cy="134673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5EB04BE5-2AC4-4294-8FF4-884EEF769502}"/>
                </a:ext>
              </a:extLst>
            </p:cNvPr>
            <p:cNvSpPr/>
            <p:nvPr/>
          </p:nvSpPr>
          <p:spPr>
            <a:xfrm>
              <a:off x="5527613" y="2174004"/>
              <a:ext cx="1476499" cy="134673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/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692EE0A2-1614-492E-8108-553F4A9F0A8E}"/>
                </a:ext>
              </a:extLst>
            </p:cNvPr>
            <p:cNvSpPr txBox="1"/>
            <p:nvPr/>
          </p:nvSpPr>
          <p:spPr>
            <a:xfrm>
              <a:off x="5527615" y="2949896"/>
              <a:ext cx="1476495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is-IS" sz="1200" b="1" dirty="0">
                  <a:solidFill>
                    <a:schemeClr val="accent4"/>
                  </a:solidFill>
                </a:rPr>
                <a:t>Kjarasamningar 2015</a:t>
              </a:r>
            </a:p>
            <a:p>
              <a:pPr algn="ctr"/>
              <a:r>
                <a:rPr lang="is-IS" sz="1100" dirty="0">
                  <a:solidFill>
                    <a:schemeClr val="tx2"/>
                  </a:solidFill>
                </a:rPr>
                <a:t>Seðlabankinn brást við með vaxtahækkun</a:t>
              </a:r>
            </a:p>
          </p:txBody>
        </p: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E89E1844-9717-43B5-8B3E-E3AC46363AE0}"/>
                </a:ext>
              </a:extLst>
            </p:cNvPr>
            <p:cNvGrpSpPr/>
            <p:nvPr/>
          </p:nvGrpSpPr>
          <p:grpSpPr>
            <a:xfrm>
              <a:off x="5561147" y="2220360"/>
              <a:ext cx="602104" cy="644217"/>
              <a:chOff x="269999" y="2144846"/>
              <a:chExt cx="602104" cy="644217"/>
            </a:xfrm>
          </p:grpSpPr>
          <p:pic>
            <p:nvPicPr>
              <p:cNvPr id="175" name="Picture 8" descr="Related image">
                <a:extLst>
                  <a:ext uri="{FF2B5EF4-FFF2-40B4-BE49-F238E27FC236}">
                    <a16:creationId xmlns:a16="http://schemas.microsoft.com/office/drawing/2014/main" id="{253F5461-1686-497D-9E0D-A1AEDB659C6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9999" y="2249063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77" name="Group 176">
                <a:extLst>
                  <a:ext uri="{FF2B5EF4-FFF2-40B4-BE49-F238E27FC236}">
                    <a16:creationId xmlns:a16="http://schemas.microsoft.com/office/drawing/2014/main" id="{91F85FF3-524F-469A-AEF5-9E5DAA693F7F}"/>
                  </a:ext>
                </a:extLst>
              </p:cNvPr>
              <p:cNvGrpSpPr/>
              <p:nvPr/>
            </p:nvGrpSpPr>
            <p:grpSpPr>
              <a:xfrm>
                <a:off x="592841" y="2144846"/>
                <a:ext cx="279262" cy="279262"/>
                <a:chOff x="4328889" y="3523481"/>
                <a:chExt cx="360000" cy="360000"/>
              </a:xfrm>
              <a:effectLst/>
            </p:grpSpPr>
            <p:sp>
              <p:nvSpPr>
                <p:cNvPr id="178" name="Oval 177">
                  <a:extLst>
                    <a:ext uri="{FF2B5EF4-FFF2-40B4-BE49-F238E27FC236}">
                      <a16:creationId xmlns:a16="http://schemas.microsoft.com/office/drawing/2014/main" id="{717FCAA2-9F68-43E8-AD22-7518CAF33991}"/>
                    </a:ext>
                  </a:extLst>
                </p:cNvPr>
                <p:cNvSpPr/>
                <p:nvPr/>
              </p:nvSpPr>
              <p:spPr>
                <a:xfrm>
                  <a:off x="4328889" y="3523481"/>
                  <a:ext cx="360000" cy="360000"/>
                </a:xfrm>
                <a:prstGeom prst="ellipse">
                  <a:avLst/>
                </a:prstGeom>
                <a:solidFill>
                  <a:srgbClr val="00B050"/>
                </a:solidFill>
                <a:ln w="15875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s-IS" dirty="0"/>
                </a:p>
              </p:txBody>
            </p:sp>
            <p:sp>
              <p:nvSpPr>
                <p:cNvPr id="179" name="Freeform 1023">
                  <a:extLst>
                    <a:ext uri="{FF2B5EF4-FFF2-40B4-BE49-F238E27FC236}">
                      <a16:creationId xmlns:a16="http://schemas.microsoft.com/office/drawing/2014/main" id="{E5B494F8-790C-4F42-BF5B-B4E85E9F26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95839" y="3604562"/>
                  <a:ext cx="226101" cy="197839"/>
                </a:xfrm>
                <a:custGeom>
                  <a:avLst/>
                  <a:gdLst>
                    <a:gd name="T0" fmla="*/ 0 w 648"/>
                    <a:gd name="T1" fmla="*/ 374 h 618"/>
                    <a:gd name="T2" fmla="*/ 88 w 648"/>
                    <a:gd name="T3" fmla="*/ 320 h 618"/>
                    <a:gd name="T4" fmla="*/ 122 w 648"/>
                    <a:gd name="T5" fmla="*/ 340 h 618"/>
                    <a:gd name="T6" fmla="*/ 184 w 648"/>
                    <a:gd name="T7" fmla="*/ 452 h 618"/>
                    <a:gd name="T8" fmla="*/ 278 w 648"/>
                    <a:gd name="T9" fmla="*/ 316 h 618"/>
                    <a:gd name="T10" fmla="*/ 434 w 648"/>
                    <a:gd name="T11" fmla="*/ 148 h 618"/>
                    <a:gd name="T12" fmla="*/ 534 w 648"/>
                    <a:gd name="T13" fmla="*/ 60 h 618"/>
                    <a:gd name="T14" fmla="*/ 632 w 648"/>
                    <a:gd name="T15" fmla="*/ 0 h 618"/>
                    <a:gd name="T16" fmla="*/ 648 w 648"/>
                    <a:gd name="T17" fmla="*/ 26 h 618"/>
                    <a:gd name="T18" fmla="*/ 566 w 648"/>
                    <a:gd name="T19" fmla="*/ 98 h 618"/>
                    <a:gd name="T20" fmla="*/ 448 w 648"/>
                    <a:gd name="T21" fmla="*/ 230 h 618"/>
                    <a:gd name="T22" fmla="*/ 346 w 648"/>
                    <a:gd name="T23" fmla="*/ 360 h 618"/>
                    <a:gd name="T24" fmla="*/ 234 w 648"/>
                    <a:gd name="T25" fmla="*/ 554 h 618"/>
                    <a:gd name="T26" fmla="*/ 144 w 648"/>
                    <a:gd name="T27" fmla="*/ 618 h 618"/>
                    <a:gd name="T28" fmla="*/ 82 w 648"/>
                    <a:gd name="T29" fmla="*/ 466 h 618"/>
                    <a:gd name="T30" fmla="*/ 42 w 648"/>
                    <a:gd name="T31" fmla="*/ 404 h 618"/>
                    <a:gd name="T32" fmla="*/ 0 w 648"/>
                    <a:gd name="T33" fmla="*/ 374 h 6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48" h="618">
                      <a:moveTo>
                        <a:pt x="0" y="374"/>
                      </a:moveTo>
                      <a:lnTo>
                        <a:pt x="88" y="320"/>
                      </a:lnTo>
                      <a:lnTo>
                        <a:pt x="122" y="340"/>
                      </a:lnTo>
                      <a:lnTo>
                        <a:pt x="184" y="452"/>
                      </a:lnTo>
                      <a:lnTo>
                        <a:pt x="278" y="316"/>
                      </a:lnTo>
                      <a:lnTo>
                        <a:pt x="434" y="148"/>
                      </a:lnTo>
                      <a:lnTo>
                        <a:pt x="534" y="60"/>
                      </a:lnTo>
                      <a:lnTo>
                        <a:pt x="632" y="0"/>
                      </a:lnTo>
                      <a:lnTo>
                        <a:pt x="648" y="26"/>
                      </a:lnTo>
                      <a:lnTo>
                        <a:pt x="566" y="98"/>
                      </a:lnTo>
                      <a:lnTo>
                        <a:pt x="448" y="230"/>
                      </a:lnTo>
                      <a:lnTo>
                        <a:pt x="346" y="360"/>
                      </a:lnTo>
                      <a:lnTo>
                        <a:pt x="234" y="554"/>
                      </a:lnTo>
                      <a:lnTo>
                        <a:pt x="144" y="618"/>
                      </a:lnTo>
                      <a:lnTo>
                        <a:pt x="82" y="466"/>
                      </a:lnTo>
                      <a:lnTo>
                        <a:pt x="42" y="404"/>
                      </a:lnTo>
                      <a:lnTo>
                        <a:pt x="0" y="3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/>
              </p:spPr>
              <p:txBody>
                <a:bodyPr wrap="none" anchor="ctr"/>
                <a:lstStyle/>
                <a:p>
                  <a:endParaRPr lang="is-IS"/>
                </a:p>
              </p:txBody>
            </p:sp>
          </p:grpSp>
        </p:grp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2D725356-20CF-41EC-8E62-9A7F658B250A}"/>
                </a:ext>
              </a:extLst>
            </p:cNvPr>
            <p:cNvSpPr txBox="1"/>
            <p:nvPr/>
          </p:nvSpPr>
          <p:spPr>
            <a:xfrm>
              <a:off x="6176094" y="2379133"/>
              <a:ext cx="179536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just"/>
              <a:r>
                <a:rPr lang="is-IS" sz="2800" b="1" dirty="0">
                  <a:solidFill>
                    <a:schemeClr val="accent6"/>
                  </a:solidFill>
                </a:rPr>
                <a:t>=</a:t>
              </a:r>
            </a:p>
          </p:txBody>
        </p:sp>
        <p:sp>
          <p:nvSpPr>
            <p:cNvPr id="173" name="Arrow: Up 172">
              <a:extLst>
                <a:ext uri="{FF2B5EF4-FFF2-40B4-BE49-F238E27FC236}">
                  <a16:creationId xmlns:a16="http://schemas.microsoft.com/office/drawing/2014/main" id="{C858AD83-D164-49FB-8D59-BCB7E29EA742}"/>
                </a:ext>
              </a:extLst>
            </p:cNvPr>
            <p:cNvSpPr/>
            <p:nvPr/>
          </p:nvSpPr>
          <p:spPr>
            <a:xfrm>
              <a:off x="6412493" y="2299790"/>
              <a:ext cx="371332" cy="525040"/>
            </a:xfrm>
            <a:prstGeom prst="upArrow">
              <a:avLst/>
            </a:prstGeom>
            <a:solidFill>
              <a:schemeClr val="accent6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s-IS"/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A97FC696-EF5F-4D9E-B9F7-7101D21B4AC6}"/>
                </a:ext>
              </a:extLst>
            </p:cNvPr>
            <p:cNvSpPr txBox="1"/>
            <p:nvPr/>
          </p:nvSpPr>
          <p:spPr>
            <a:xfrm>
              <a:off x="6533856" y="2281096"/>
              <a:ext cx="373500" cy="61555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just"/>
              <a:r>
                <a:rPr lang="is-IS" sz="4000" b="1" dirty="0">
                  <a:ln>
                    <a:solidFill>
                      <a:schemeClr val="bg1"/>
                    </a:solidFill>
                  </a:ln>
                  <a:solidFill>
                    <a:schemeClr val="accent4"/>
                  </a:solidFill>
                </a:rPr>
                <a:t>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4729699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CE46AA3-02EE-4B29-8CB0-119E0C56B5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7518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Slide" r:id="rId24" imgW="359" imgH="358" progId="TCLayout.ActiveDocument.1">
                  <p:embed/>
                </p:oleObj>
              </mc:Choice>
              <mc:Fallback>
                <p:oleObj name="think-cell Slide" r:id="rId24" imgW="359" imgH="35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CE46AA3-02EE-4B29-8CB0-119E0C56B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F29040DD-5F62-4ED0-8BCF-51ED6FDC71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7A00F0D4-0BA7-4529-8C5E-5874563FDCB3}"/>
              </a:ext>
            </a:extLst>
          </p:cNvPr>
          <p:cNvSpPr/>
          <p:nvPr/>
        </p:nvSpPr>
        <p:spPr>
          <a:xfrm>
            <a:off x="6338764" y="1253515"/>
            <a:ext cx="4537322" cy="435096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260E9E69-181E-499B-9D5C-C5F101F4547F}"/>
              </a:ext>
            </a:extLst>
          </p:cNvPr>
          <p:cNvSpPr/>
          <p:nvPr/>
        </p:nvSpPr>
        <p:spPr>
          <a:xfrm>
            <a:off x="3042015" y="1728870"/>
            <a:ext cx="3464292" cy="938129"/>
          </a:xfrm>
          <a:prstGeom prst="rightArrow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EA9CB60C-0E71-436C-9BC1-A28B7B5006A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03726904"/>
              </p:ext>
            </p:extLst>
          </p:nvPr>
        </p:nvGraphicFramePr>
        <p:xfrm>
          <a:off x="2968625" y="1887538"/>
          <a:ext cx="2355850" cy="3800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19779160-D038-4F5D-865E-8B4FF459759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117725" y="5270500"/>
            <a:ext cx="6080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18D842-71E8-4FAB-8B32-8F9A1E245AC4}" type="datetime'''''''''B''re''t''''''''''''''''l''''''''''''''a''n''''''''d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retland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511ACB6B-479F-407D-94CA-3E6FD3B6C43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117725" y="2089150"/>
            <a:ext cx="4191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Ísland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BA82241-A187-4EE1-851D-24D5A5C0047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117725" y="3906838"/>
            <a:ext cx="8159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B1C1AFB-EE4D-405D-9EFB-1792D2C35012}" type="datetime'''E''''v''''''r''''''us''væð''''''''''i''''''''''''''ð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vrusvæðið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B0BE8207-9487-4E3F-A9A2-EB76479978C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538538" y="4362450"/>
            <a:ext cx="400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300495-5008-49D3-8BC5-3AF7ED7B1DAF}" type="datetime'''''''''''''''''''1'''''''',6'''''''''''''''''''''''">
              <a:rPr lang="is-IS" altLang="en-US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6</a:t>
            </a:fld>
            <a:r>
              <a:rPr lang="is-IS" altLang="en-U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t>%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F6F6D923-FB79-4813-AC10-102DF7ADC38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595688" y="2998788"/>
            <a:ext cx="400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A02D96-ECDF-4176-BB9E-2CFBE0740242}" type="datetime'''''1'''''''''',''''''''''''8'''''''''">
              <a:rPr lang="is-IS" altLang="en-US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8</a:t>
            </a:fld>
            <a:r>
              <a:rPr lang="is-IS" altLang="en-U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t>%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4B5C6B-DD24-4FD9-BAC3-0F3ECE09D7A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117725" y="2544763"/>
            <a:ext cx="5889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E6A32B0-7689-4967-9A53-A95157996E54}" type="datetime'''''N''''''''o''''''''''''''''''reg''''u''''''''''r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oregur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CC3EB207-4AD6-4805-A943-B9CF5BE7C40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117725" y="2998788"/>
            <a:ext cx="6572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AC30D2-E40B-4FB2-B14A-E4888DC8D46E}" type="datetime'Dan''''m''ö''''r''''k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anmörk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F406D3CE-0AEA-4434-BB01-121F465E086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117725" y="4816475"/>
            <a:ext cx="7588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5686D6-0302-40BE-8197-E5A9DC0C1CE0}" type="datetime'''''''''B''''''''''''''''''''an''da''''rí''''ki''''''''n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ndaríkin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300BC4EF-18A9-4EFB-A588-A4B715C5534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117725" y="3452813"/>
            <a:ext cx="6143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68C40D-CD5E-4D0C-88DB-B16F65101C3D}" type="datetime'''''''''''''Fi''n''''''nl''a''''''''n''''''''''''''d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innland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F6070686-5C14-4A69-A5FD-26E61F0C9B5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117725" y="4362450"/>
            <a:ext cx="514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CCD375-08C3-4A5F-974E-D2BB6D3DF5BF}" type="datetime'''S''''''''v''''''''í''''þ''j''''''''''ó''ð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víþjóð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39534219-4166-405E-8188-B7E3F596FAC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267325" y="2089150"/>
            <a:ext cx="400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98542B7-B666-4353-B627-1BB8BBC460DD}" type="datetime'''''''''7'''''''',''''''''''''''''''''''''''''''''''''''6'''''">
              <a:rPr lang="is-IS" altLang="en-US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,6</a:t>
            </a:fld>
            <a:r>
              <a:rPr lang="is-IS" altLang="en-U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t>%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14DF0C15-BEBA-40BC-AF46-25C6A3DA301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825875" y="2544763"/>
            <a:ext cx="400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127D2C-76F9-42C2-A857-B3A2502120D8}" type="datetime'''''''''''''''''2'''''''''''''''''''''''''''''''',''''''''6'">
              <a:rPr lang="is-IS" altLang="en-US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,6</a:t>
            </a:fld>
            <a:r>
              <a:rPr lang="is-IS" altLang="en-U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t>%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77A26D66-8104-4F0D-8A53-3F087188375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538538" y="3452813"/>
            <a:ext cx="400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A19E9E-0806-417B-95A9-798FDEEBEFF6}" type="datetime'1'''''''''',''''''''''6'''''''''''''''''''''''''''''''''">
              <a:rPr lang="is-IS" altLang="en-US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6</a:t>
            </a:fld>
            <a:r>
              <a:rPr lang="is-IS" altLang="en-U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t>%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872EEAA9-BC0E-482D-830D-08BDACF21FE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538538" y="3906838"/>
            <a:ext cx="400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5C50130-4717-4E3E-80F3-38F9946E4157}" type="datetime'''''''''''1'''''''''''''''''',''''''''''''6'''">
              <a:rPr lang="is-IS" altLang="en-US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6</a:t>
            </a:fld>
            <a:r>
              <a:rPr lang="is-IS" altLang="en-U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t>%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6CC7CACE-606D-4444-90FA-9AE25D8E017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38538" y="4816475"/>
            <a:ext cx="400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F90E1ED-6210-4C26-B2B3-0B35D939208A}" type="datetime'''''1'''''''''''''''''''',''''''''''''''''''''''''''''''6'">
              <a:rPr lang="is-IS" altLang="en-US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6</a:t>
            </a:fld>
            <a:r>
              <a:rPr lang="is-IS" altLang="en-U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t>%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40952CEE-A9B6-46CF-9512-6AA415ACF72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740150" y="5270500"/>
            <a:ext cx="400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F597E3B-0531-4942-92B5-0E2340FE1D4B}" type="datetime'''''''2'''''''''''''''''''''''''''''''''''''''''',3'''''''''''">
              <a:rPr lang="is-IS" altLang="en-US" smtClean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,3</a:t>
            </a:fld>
            <a:r>
              <a:rPr lang="is-IS" altLang="en-U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t>%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08FE70B9-7191-4FC9-B72C-BE13F132E200}"/>
              </a:ext>
            </a:extLst>
          </p:cNvPr>
          <p:cNvGrpSpPr/>
          <p:nvPr/>
        </p:nvGrpSpPr>
        <p:grpSpPr>
          <a:xfrm>
            <a:off x="1763713" y="1273796"/>
            <a:ext cx="3848100" cy="472813"/>
            <a:chOff x="8033730" y="1712327"/>
            <a:chExt cx="3528001" cy="472813"/>
          </a:xfrm>
        </p:grpSpPr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89F8C0A6-5D8E-43D8-AF37-7D7DE31D36A8}"/>
                </a:ext>
              </a:extLst>
            </p:cNvPr>
            <p:cNvSpPr>
              <a:spLocks/>
            </p:cNvSpPr>
            <p:nvPr/>
          </p:nvSpPr>
          <p:spPr>
            <a:xfrm>
              <a:off x="8033730" y="1712327"/>
              <a:ext cx="3528000" cy="472813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36000" rIns="0" bIns="3600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algn="l" defTabSz="609585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609585" algn="l" defTabSz="609585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marL="1219170" algn="l" defTabSz="609585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marL="1828754" algn="l" defTabSz="609585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marL="2438339" algn="l" defTabSz="609585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3047924" algn="l" defTabSz="609585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3657509" algn="l" defTabSz="609585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4267093" algn="l" defTabSz="609585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4876678" algn="l" defTabSz="609585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defTabSz="913526">
                <a:buClr>
                  <a:schemeClr val="tx2"/>
                </a:buClr>
              </a:pPr>
              <a:r>
                <a:rPr lang="is-IS" sz="1400" b="1" dirty="0">
                  <a:solidFill>
                    <a:schemeClr val="accent3"/>
                  </a:solidFill>
                  <a:latin typeface="+mj-lt"/>
                </a:rPr>
                <a:t>Stýrivextir í völdum ríkjum frá 2001</a:t>
              </a:r>
            </a:p>
            <a:p>
              <a:pPr defTabSz="913526">
                <a:buClr>
                  <a:schemeClr val="tx2"/>
                </a:buClr>
              </a:pPr>
              <a:r>
                <a:rPr lang="is-IS" sz="12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meðaltal á árunum 2001-2019</a:t>
              </a:r>
            </a:p>
          </p:txBody>
        </p: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C01EF1C9-7F73-49FB-9341-57EC2D3AFE4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033731" y="2183683"/>
              <a:ext cx="3528000" cy="0"/>
            </a:xfrm>
            <a:prstGeom prst="line">
              <a:avLst/>
            </a:prstGeom>
            <a:ln w="3175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582BD2B1-9825-4A71-8573-ACE8CF33C897}"/>
              </a:ext>
            </a:extLst>
          </p:cNvPr>
          <p:cNvSpPr txBox="1"/>
          <p:nvPr/>
        </p:nvSpPr>
        <p:spPr>
          <a:xfrm>
            <a:off x="6829426" y="1451871"/>
            <a:ext cx="3476624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s-IS" b="1" dirty="0">
                <a:solidFill>
                  <a:schemeClr val="accent3"/>
                </a:solidFill>
              </a:rPr>
              <a:t>Lífskjarasamningur skapar skilyrði fyrir vaxtalækku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9B12FF-4E91-4789-9B11-481EEF1BC0D6}"/>
              </a:ext>
            </a:extLst>
          </p:cNvPr>
          <p:cNvSpPr txBox="1"/>
          <p:nvPr/>
        </p:nvSpPr>
        <p:spPr>
          <a:xfrm>
            <a:off x="6620609" y="2174261"/>
            <a:ext cx="4069162" cy="216982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</a:pP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Í gegnum tíðina hafa Íslendingar búið við mikla verðbólgu og háa vexti. Þar til nú.</a:t>
            </a: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ífskjarasamningur stuðlar að lækkun vaxta. </a:t>
            </a: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</a:pP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Lítil skuldsetning, hátt sparnaðarhlutfall og rúmur gjaldeyrisvaraforði gætu skapað skilyrði til frekari lækkunar vaxta.</a:t>
            </a: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</a:pP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Mesta kjarabót heimila er að standa vörð um kaupmátt launa, tryggja litla verðbólgu og lægri vexti til frambúðar.</a:t>
            </a:r>
          </a:p>
        </p:txBody>
      </p:sp>
      <p:sp>
        <p:nvSpPr>
          <p:cNvPr id="78" name="Freeform 7">
            <a:extLst>
              <a:ext uri="{FF2B5EF4-FFF2-40B4-BE49-F238E27FC236}">
                <a16:creationId xmlns:a16="http://schemas.microsoft.com/office/drawing/2014/main" id="{739FD6D1-7ECD-49C3-9C69-C2447E48D20C}"/>
              </a:ext>
            </a:extLst>
          </p:cNvPr>
          <p:cNvSpPr>
            <a:spLocks noEditPoints="1"/>
          </p:cNvSpPr>
          <p:nvPr>
            <p:custDataLst>
              <p:tags r:id="rId21"/>
            </p:custDataLst>
          </p:nvPr>
        </p:nvSpPr>
        <p:spPr bwMode="gray">
          <a:xfrm rot="20551358">
            <a:off x="7956692" y="4314994"/>
            <a:ext cx="1301466" cy="1013652"/>
          </a:xfrm>
          <a:custGeom>
            <a:avLst/>
            <a:gdLst>
              <a:gd name="T0" fmla="*/ 2147483647 w 7434"/>
              <a:gd name="T1" fmla="*/ 2147483647 h 6192"/>
              <a:gd name="T2" fmla="*/ 2147483647 w 7434"/>
              <a:gd name="T3" fmla="*/ 2147483647 h 6192"/>
              <a:gd name="T4" fmla="*/ 2147483647 w 7434"/>
              <a:gd name="T5" fmla="*/ 2147483647 h 6192"/>
              <a:gd name="T6" fmla="*/ 2147483647 w 7434"/>
              <a:gd name="T7" fmla="*/ 2147483647 h 6192"/>
              <a:gd name="T8" fmla="*/ 2147483647 w 7434"/>
              <a:gd name="T9" fmla="*/ 2147483647 h 6192"/>
              <a:gd name="T10" fmla="*/ 2147483647 w 7434"/>
              <a:gd name="T11" fmla="*/ 2147483647 h 6192"/>
              <a:gd name="T12" fmla="*/ 2147483647 w 7434"/>
              <a:gd name="T13" fmla="*/ 2147483647 h 6192"/>
              <a:gd name="T14" fmla="*/ 2147483647 w 7434"/>
              <a:gd name="T15" fmla="*/ 2147483647 h 6192"/>
              <a:gd name="T16" fmla="*/ 2147483647 w 7434"/>
              <a:gd name="T17" fmla="*/ 2147483647 h 6192"/>
              <a:gd name="T18" fmla="*/ 2147483647 w 7434"/>
              <a:gd name="T19" fmla="*/ 2147483647 h 6192"/>
              <a:gd name="T20" fmla="*/ 2147483647 w 7434"/>
              <a:gd name="T21" fmla="*/ 2147483647 h 6192"/>
              <a:gd name="T22" fmla="*/ 2147483647 w 7434"/>
              <a:gd name="T23" fmla="*/ 2147483647 h 6192"/>
              <a:gd name="T24" fmla="*/ 2147483647 w 7434"/>
              <a:gd name="T25" fmla="*/ 2147483647 h 6192"/>
              <a:gd name="T26" fmla="*/ 2147483647 w 7434"/>
              <a:gd name="T27" fmla="*/ 2147483647 h 6192"/>
              <a:gd name="T28" fmla="*/ 2147483647 w 7434"/>
              <a:gd name="T29" fmla="*/ 2147483647 h 6192"/>
              <a:gd name="T30" fmla="*/ 2147483647 w 7434"/>
              <a:gd name="T31" fmla="*/ 2147483647 h 6192"/>
              <a:gd name="T32" fmla="*/ 2147483647 w 7434"/>
              <a:gd name="T33" fmla="*/ 2147483647 h 6192"/>
              <a:gd name="T34" fmla="*/ 2147483647 w 7434"/>
              <a:gd name="T35" fmla="*/ 2147483647 h 6192"/>
              <a:gd name="T36" fmla="*/ 2147483647 w 7434"/>
              <a:gd name="T37" fmla="*/ 2147483647 h 6192"/>
              <a:gd name="T38" fmla="*/ 2147483647 w 7434"/>
              <a:gd name="T39" fmla="*/ 2147483647 h 6192"/>
              <a:gd name="T40" fmla="*/ 2147483647 w 7434"/>
              <a:gd name="T41" fmla="*/ 2147483647 h 6192"/>
              <a:gd name="T42" fmla="*/ 2147483647 w 7434"/>
              <a:gd name="T43" fmla="*/ 2147483647 h 6192"/>
              <a:gd name="T44" fmla="*/ 2147483647 w 7434"/>
              <a:gd name="T45" fmla="*/ 2147483647 h 6192"/>
              <a:gd name="T46" fmla="*/ 2147483647 w 7434"/>
              <a:gd name="T47" fmla="*/ 2147483647 h 6192"/>
              <a:gd name="T48" fmla="*/ 2147483647 w 7434"/>
              <a:gd name="T49" fmla="*/ 2147483647 h 6192"/>
              <a:gd name="T50" fmla="*/ 2147483647 w 7434"/>
              <a:gd name="T51" fmla="*/ 2147483647 h 6192"/>
              <a:gd name="T52" fmla="*/ 2147483647 w 7434"/>
              <a:gd name="T53" fmla="*/ 2147483647 h 6192"/>
              <a:gd name="T54" fmla="*/ 2147483647 w 7434"/>
              <a:gd name="T55" fmla="*/ 2147483647 h 6192"/>
              <a:gd name="T56" fmla="*/ 2147483647 w 7434"/>
              <a:gd name="T57" fmla="*/ 2147483647 h 6192"/>
              <a:gd name="T58" fmla="*/ 2147483647 w 7434"/>
              <a:gd name="T59" fmla="*/ 2147483647 h 6192"/>
              <a:gd name="T60" fmla="*/ 2147483647 w 7434"/>
              <a:gd name="T61" fmla="*/ 2147483647 h 6192"/>
              <a:gd name="T62" fmla="*/ 2147483647 w 7434"/>
              <a:gd name="T63" fmla="*/ 2147483647 h 6192"/>
              <a:gd name="T64" fmla="*/ 2147483647 w 7434"/>
              <a:gd name="T65" fmla="*/ 2147483647 h 6192"/>
              <a:gd name="T66" fmla="*/ 2147483647 w 7434"/>
              <a:gd name="T67" fmla="*/ 2147483647 h 6192"/>
              <a:gd name="T68" fmla="*/ 2147483647 w 7434"/>
              <a:gd name="T69" fmla="*/ 2147483647 h 6192"/>
              <a:gd name="T70" fmla="*/ 2147483647 w 7434"/>
              <a:gd name="T71" fmla="*/ 2147483647 h 6192"/>
              <a:gd name="T72" fmla="*/ 2147483647 w 7434"/>
              <a:gd name="T73" fmla="*/ 2147483647 h 6192"/>
              <a:gd name="T74" fmla="*/ 2147483647 w 7434"/>
              <a:gd name="T75" fmla="*/ 2147483647 h 6192"/>
              <a:gd name="T76" fmla="*/ 2147483647 w 7434"/>
              <a:gd name="T77" fmla="*/ 2147483647 h 6192"/>
              <a:gd name="T78" fmla="*/ 2147483647 w 7434"/>
              <a:gd name="T79" fmla="*/ 2147483647 h 6192"/>
              <a:gd name="T80" fmla="*/ 2147483647 w 7434"/>
              <a:gd name="T81" fmla="*/ 2147483647 h 6192"/>
              <a:gd name="T82" fmla="*/ 2147483647 w 7434"/>
              <a:gd name="T83" fmla="*/ 2147483647 h 6192"/>
              <a:gd name="T84" fmla="*/ 2147483647 w 7434"/>
              <a:gd name="T85" fmla="*/ 2147483647 h 6192"/>
              <a:gd name="T86" fmla="*/ 2147483647 w 7434"/>
              <a:gd name="T87" fmla="*/ 2147483647 h 6192"/>
              <a:gd name="T88" fmla="*/ 2147483647 w 7434"/>
              <a:gd name="T89" fmla="*/ 2147483647 h 6192"/>
              <a:gd name="T90" fmla="*/ 2147483647 w 7434"/>
              <a:gd name="T91" fmla="*/ 2147483647 h 6192"/>
              <a:gd name="T92" fmla="*/ 2147483647 w 7434"/>
              <a:gd name="T93" fmla="*/ 2147483647 h 6192"/>
              <a:gd name="T94" fmla="*/ 2147483647 w 7434"/>
              <a:gd name="T95" fmla="*/ 2147483647 h 6192"/>
              <a:gd name="T96" fmla="*/ 2147483647 w 7434"/>
              <a:gd name="T97" fmla="*/ 2147483647 h 6192"/>
              <a:gd name="T98" fmla="*/ 2147483647 w 7434"/>
              <a:gd name="T99" fmla="*/ 2147483647 h 6192"/>
              <a:gd name="T100" fmla="*/ 2147483647 w 7434"/>
              <a:gd name="T101" fmla="*/ 2147483647 h 6192"/>
              <a:gd name="T102" fmla="*/ 2147483647 w 7434"/>
              <a:gd name="T103" fmla="*/ 2147483647 h 6192"/>
              <a:gd name="T104" fmla="*/ 2147483647 w 7434"/>
              <a:gd name="T105" fmla="*/ 2147483647 h 6192"/>
              <a:gd name="T106" fmla="*/ 2147483647 w 7434"/>
              <a:gd name="T107" fmla="*/ 2147483647 h 6192"/>
              <a:gd name="T108" fmla="*/ 2147483647 w 7434"/>
              <a:gd name="T109" fmla="*/ 2147483647 h 6192"/>
              <a:gd name="T110" fmla="*/ 2147483647 w 7434"/>
              <a:gd name="T111" fmla="*/ 2147483647 h 6192"/>
              <a:gd name="T112" fmla="*/ 2147483647 w 7434"/>
              <a:gd name="T113" fmla="*/ 2147483647 h 6192"/>
              <a:gd name="T114" fmla="*/ 2147483647 w 7434"/>
              <a:gd name="T115" fmla="*/ 2147483647 h 6192"/>
              <a:gd name="T116" fmla="*/ 2147483647 w 7434"/>
              <a:gd name="T117" fmla="*/ 2147483647 h 6192"/>
              <a:gd name="T118" fmla="*/ 2147483647 w 7434"/>
              <a:gd name="T119" fmla="*/ 2147483647 h 6192"/>
              <a:gd name="T120" fmla="*/ 2147483647 w 7434"/>
              <a:gd name="T121" fmla="*/ 2147483647 h 6192"/>
              <a:gd name="T122" fmla="*/ 2147483647 w 7434"/>
              <a:gd name="T123" fmla="*/ 2147483647 h 6192"/>
              <a:gd name="T124" fmla="*/ 2147483647 w 7434"/>
              <a:gd name="T125" fmla="*/ 2147483647 h 61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434" h="6192">
                <a:moveTo>
                  <a:pt x="660" y="4056"/>
                </a:moveTo>
                <a:lnTo>
                  <a:pt x="678" y="4062"/>
                </a:lnTo>
                <a:lnTo>
                  <a:pt x="690" y="4056"/>
                </a:lnTo>
                <a:lnTo>
                  <a:pt x="696" y="4062"/>
                </a:lnTo>
                <a:lnTo>
                  <a:pt x="714" y="4068"/>
                </a:lnTo>
                <a:lnTo>
                  <a:pt x="714" y="4080"/>
                </a:lnTo>
                <a:lnTo>
                  <a:pt x="726" y="4074"/>
                </a:lnTo>
                <a:lnTo>
                  <a:pt x="738" y="4080"/>
                </a:lnTo>
                <a:lnTo>
                  <a:pt x="756" y="4062"/>
                </a:lnTo>
                <a:lnTo>
                  <a:pt x="768" y="4062"/>
                </a:lnTo>
                <a:lnTo>
                  <a:pt x="774" y="4074"/>
                </a:lnTo>
                <a:lnTo>
                  <a:pt x="786" y="4074"/>
                </a:lnTo>
                <a:lnTo>
                  <a:pt x="798" y="4080"/>
                </a:lnTo>
                <a:lnTo>
                  <a:pt x="798" y="4062"/>
                </a:lnTo>
                <a:lnTo>
                  <a:pt x="792" y="4062"/>
                </a:lnTo>
                <a:lnTo>
                  <a:pt x="786" y="4050"/>
                </a:lnTo>
                <a:lnTo>
                  <a:pt x="774" y="4032"/>
                </a:lnTo>
                <a:lnTo>
                  <a:pt x="768" y="4014"/>
                </a:lnTo>
                <a:lnTo>
                  <a:pt x="774" y="4014"/>
                </a:lnTo>
                <a:lnTo>
                  <a:pt x="774" y="4002"/>
                </a:lnTo>
                <a:lnTo>
                  <a:pt x="768" y="4002"/>
                </a:lnTo>
                <a:lnTo>
                  <a:pt x="756" y="4002"/>
                </a:lnTo>
                <a:lnTo>
                  <a:pt x="756" y="3996"/>
                </a:lnTo>
                <a:lnTo>
                  <a:pt x="762" y="3996"/>
                </a:lnTo>
                <a:lnTo>
                  <a:pt x="768" y="3990"/>
                </a:lnTo>
                <a:lnTo>
                  <a:pt x="774" y="3984"/>
                </a:lnTo>
                <a:lnTo>
                  <a:pt x="774" y="3978"/>
                </a:lnTo>
                <a:lnTo>
                  <a:pt x="798" y="3978"/>
                </a:lnTo>
                <a:lnTo>
                  <a:pt x="804" y="3978"/>
                </a:lnTo>
                <a:lnTo>
                  <a:pt x="810" y="3978"/>
                </a:lnTo>
                <a:lnTo>
                  <a:pt x="798" y="3984"/>
                </a:lnTo>
                <a:lnTo>
                  <a:pt x="792" y="3984"/>
                </a:lnTo>
                <a:lnTo>
                  <a:pt x="798" y="3990"/>
                </a:lnTo>
                <a:lnTo>
                  <a:pt x="804" y="3990"/>
                </a:lnTo>
                <a:lnTo>
                  <a:pt x="810" y="3990"/>
                </a:lnTo>
                <a:lnTo>
                  <a:pt x="822" y="3990"/>
                </a:lnTo>
                <a:lnTo>
                  <a:pt x="822" y="4002"/>
                </a:lnTo>
                <a:lnTo>
                  <a:pt x="816" y="4008"/>
                </a:lnTo>
                <a:lnTo>
                  <a:pt x="810" y="3996"/>
                </a:lnTo>
                <a:lnTo>
                  <a:pt x="804" y="4002"/>
                </a:lnTo>
                <a:lnTo>
                  <a:pt x="798" y="4002"/>
                </a:lnTo>
                <a:lnTo>
                  <a:pt x="792" y="4002"/>
                </a:lnTo>
                <a:lnTo>
                  <a:pt x="786" y="3996"/>
                </a:lnTo>
                <a:lnTo>
                  <a:pt x="786" y="4002"/>
                </a:lnTo>
                <a:lnTo>
                  <a:pt x="786" y="4008"/>
                </a:lnTo>
                <a:lnTo>
                  <a:pt x="792" y="4014"/>
                </a:lnTo>
                <a:lnTo>
                  <a:pt x="816" y="4020"/>
                </a:lnTo>
                <a:lnTo>
                  <a:pt x="816" y="4026"/>
                </a:lnTo>
                <a:lnTo>
                  <a:pt x="834" y="4032"/>
                </a:lnTo>
                <a:lnTo>
                  <a:pt x="834" y="4020"/>
                </a:lnTo>
                <a:lnTo>
                  <a:pt x="846" y="4026"/>
                </a:lnTo>
                <a:lnTo>
                  <a:pt x="852" y="4026"/>
                </a:lnTo>
                <a:lnTo>
                  <a:pt x="852" y="4020"/>
                </a:lnTo>
                <a:lnTo>
                  <a:pt x="840" y="4008"/>
                </a:lnTo>
                <a:lnTo>
                  <a:pt x="840" y="4002"/>
                </a:lnTo>
                <a:lnTo>
                  <a:pt x="846" y="4002"/>
                </a:lnTo>
                <a:lnTo>
                  <a:pt x="858" y="4008"/>
                </a:lnTo>
                <a:lnTo>
                  <a:pt x="864" y="4008"/>
                </a:lnTo>
                <a:lnTo>
                  <a:pt x="870" y="4008"/>
                </a:lnTo>
                <a:lnTo>
                  <a:pt x="846" y="3984"/>
                </a:lnTo>
                <a:lnTo>
                  <a:pt x="840" y="3972"/>
                </a:lnTo>
                <a:lnTo>
                  <a:pt x="840" y="3966"/>
                </a:lnTo>
                <a:lnTo>
                  <a:pt x="840" y="3948"/>
                </a:lnTo>
                <a:lnTo>
                  <a:pt x="828" y="3930"/>
                </a:lnTo>
                <a:lnTo>
                  <a:pt x="828" y="3924"/>
                </a:lnTo>
                <a:lnTo>
                  <a:pt x="816" y="3918"/>
                </a:lnTo>
                <a:lnTo>
                  <a:pt x="804" y="3912"/>
                </a:lnTo>
                <a:lnTo>
                  <a:pt x="810" y="3906"/>
                </a:lnTo>
                <a:lnTo>
                  <a:pt x="816" y="3906"/>
                </a:lnTo>
                <a:lnTo>
                  <a:pt x="822" y="3900"/>
                </a:lnTo>
                <a:lnTo>
                  <a:pt x="834" y="3912"/>
                </a:lnTo>
                <a:lnTo>
                  <a:pt x="840" y="3930"/>
                </a:lnTo>
                <a:lnTo>
                  <a:pt x="846" y="3936"/>
                </a:lnTo>
                <a:lnTo>
                  <a:pt x="858" y="3936"/>
                </a:lnTo>
                <a:lnTo>
                  <a:pt x="870" y="3930"/>
                </a:lnTo>
                <a:lnTo>
                  <a:pt x="876" y="3930"/>
                </a:lnTo>
                <a:lnTo>
                  <a:pt x="864" y="3942"/>
                </a:lnTo>
                <a:lnTo>
                  <a:pt x="870" y="3948"/>
                </a:lnTo>
                <a:lnTo>
                  <a:pt x="876" y="3948"/>
                </a:lnTo>
                <a:lnTo>
                  <a:pt x="882" y="3948"/>
                </a:lnTo>
                <a:lnTo>
                  <a:pt x="882" y="3960"/>
                </a:lnTo>
                <a:lnTo>
                  <a:pt x="894" y="3966"/>
                </a:lnTo>
                <a:lnTo>
                  <a:pt x="906" y="3954"/>
                </a:lnTo>
                <a:lnTo>
                  <a:pt x="912" y="3954"/>
                </a:lnTo>
                <a:lnTo>
                  <a:pt x="918" y="3972"/>
                </a:lnTo>
                <a:lnTo>
                  <a:pt x="924" y="3972"/>
                </a:lnTo>
                <a:lnTo>
                  <a:pt x="924" y="3990"/>
                </a:lnTo>
                <a:lnTo>
                  <a:pt x="918" y="4008"/>
                </a:lnTo>
                <a:lnTo>
                  <a:pt x="918" y="4014"/>
                </a:lnTo>
                <a:lnTo>
                  <a:pt x="924" y="4008"/>
                </a:lnTo>
                <a:lnTo>
                  <a:pt x="942" y="4020"/>
                </a:lnTo>
                <a:lnTo>
                  <a:pt x="948" y="4020"/>
                </a:lnTo>
                <a:lnTo>
                  <a:pt x="936" y="4002"/>
                </a:lnTo>
                <a:lnTo>
                  <a:pt x="942" y="3990"/>
                </a:lnTo>
                <a:lnTo>
                  <a:pt x="948" y="3996"/>
                </a:lnTo>
                <a:lnTo>
                  <a:pt x="954" y="3990"/>
                </a:lnTo>
                <a:lnTo>
                  <a:pt x="948" y="3984"/>
                </a:lnTo>
                <a:lnTo>
                  <a:pt x="948" y="3978"/>
                </a:lnTo>
                <a:lnTo>
                  <a:pt x="960" y="3978"/>
                </a:lnTo>
                <a:lnTo>
                  <a:pt x="966" y="3984"/>
                </a:lnTo>
                <a:lnTo>
                  <a:pt x="966" y="3978"/>
                </a:lnTo>
                <a:lnTo>
                  <a:pt x="972" y="3978"/>
                </a:lnTo>
                <a:lnTo>
                  <a:pt x="954" y="3954"/>
                </a:lnTo>
                <a:lnTo>
                  <a:pt x="966" y="3942"/>
                </a:lnTo>
                <a:lnTo>
                  <a:pt x="978" y="3948"/>
                </a:lnTo>
                <a:lnTo>
                  <a:pt x="984" y="3966"/>
                </a:lnTo>
                <a:lnTo>
                  <a:pt x="984" y="3972"/>
                </a:lnTo>
                <a:lnTo>
                  <a:pt x="978" y="3978"/>
                </a:lnTo>
                <a:lnTo>
                  <a:pt x="978" y="3984"/>
                </a:lnTo>
                <a:lnTo>
                  <a:pt x="996" y="3990"/>
                </a:lnTo>
                <a:lnTo>
                  <a:pt x="1008" y="3984"/>
                </a:lnTo>
                <a:lnTo>
                  <a:pt x="1008" y="3978"/>
                </a:lnTo>
                <a:lnTo>
                  <a:pt x="1008" y="3972"/>
                </a:lnTo>
                <a:lnTo>
                  <a:pt x="1026" y="3978"/>
                </a:lnTo>
                <a:lnTo>
                  <a:pt x="1032" y="3978"/>
                </a:lnTo>
                <a:lnTo>
                  <a:pt x="1044" y="3984"/>
                </a:lnTo>
                <a:lnTo>
                  <a:pt x="1044" y="3978"/>
                </a:lnTo>
                <a:lnTo>
                  <a:pt x="1056" y="3984"/>
                </a:lnTo>
                <a:lnTo>
                  <a:pt x="1056" y="3978"/>
                </a:lnTo>
                <a:lnTo>
                  <a:pt x="1050" y="3966"/>
                </a:lnTo>
                <a:lnTo>
                  <a:pt x="1038" y="3960"/>
                </a:lnTo>
                <a:lnTo>
                  <a:pt x="1014" y="3960"/>
                </a:lnTo>
                <a:lnTo>
                  <a:pt x="1008" y="3954"/>
                </a:lnTo>
                <a:lnTo>
                  <a:pt x="1002" y="3960"/>
                </a:lnTo>
                <a:lnTo>
                  <a:pt x="996" y="3954"/>
                </a:lnTo>
                <a:lnTo>
                  <a:pt x="1014" y="3948"/>
                </a:lnTo>
                <a:lnTo>
                  <a:pt x="1014" y="3930"/>
                </a:lnTo>
                <a:lnTo>
                  <a:pt x="1020" y="3930"/>
                </a:lnTo>
                <a:lnTo>
                  <a:pt x="1026" y="3930"/>
                </a:lnTo>
                <a:lnTo>
                  <a:pt x="1032" y="3936"/>
                </a:lnTo>
                <a:lnTo>
                  <a:pt x="1044" y="3930"/>
                </a:lnTo>
                <a:lnTo>
                  <a:pt x="1056" y="3936"/>
                </a:lnTo>
                <a:lnTo>
                  <a:pt x="1068" y="3936"/>
                </a:lnTo>
                <a:lnTo>
                  <a:pt x="1062" y="3924"/>
                </a:lnTo>
                <a:lnTo>
                  <a:pt x="1020" y="3918"/>
                </a:lnTo>
                <a:lnTo>
                  <a:pt x="1020" y="3912"/>
                </a:lnTo>
                <a:lnTo>
                  <a:pt x="1008" y="3894"/>
                </a:lnTo>
                <a:lnTo>
                  <a:pt x="984" y="3894"/>
                </a:lnTo>
                <a:lnTo>
                  <a:pt x="984" y="3888"/>
                </a:lnTo>
                <a:lnTo>
                  <a:pt x="996" y="3882"/>
                </a:lnTo>
                <a:lnTo>
                  <a:pt x="1008" y="3870"/>
                </a:lnTo>
                <a:lnTo>
                  <a:pt x="1008" y="3846"/>
                </a:lnTo>
                <a:lnTo>
                  <a:pt x="996" y="3840"/>
                </a:lnTo>
                <a:lnTo>
                  <a:pt x="978" y="3834"/>
                </a:lnTo>
                <a:lnTo>
                  <a:pt x="972" y="3840"/>
                </a:lnTo>
                <a:lnTo>
                  <a:pt x="960" y="3834"/>
                </a:lnTo>
                <a:lnTo>
                  <a:pt x="954" y="3834"/>
                </a:lnTo>
                <a:lnTo>
                  <a:pt x="948" y="3828"/>
                </a:lnTo>
                <a:lnTo>
                  <a:pt x="954" y="3822"/>
                </a:lnTo>
                <a:lnTo>
                  <a:pt x="966" y="3822"/>
                </a:lnTo>
                <a:lnTo>
                  <a:pt x="960" y="3816"/>
                </a:lnTo>
                <a:lnTo>
                  <a:pt x="966" y="3810"/>
                </a:lnTo>
                <a:lnTo>
                  <a:pt x="972" y="3816"/>
                </a:lnTo>
                <a:lnTo>
                  <a:pt x="984" y="3804"/>
                </a:lnTo>
                <a:lnTo>
                  <a:pt x="990" y="3786"/>
                </a:lnTo>
                <a:lnTo>
                  <a:pt x="996" y="3786"/>
                </a:lnTo>
                <a:lnTo>
                  <a:pt x="1044" y="3762"/>
                </a:lnTo>
                <a:lnTo>
                  <a:pt x="1062" y="3756"/>
                </a:lnTo>
                <a:lnTo>
                  <a:pt x="1086" y="3744"/>
                </a:lnTo>
                <a:lnTo>
                  <a:pt x="1146" y="3708"/>
                </a:lnTo>
                <a:lnTo>
                  <a:pt x="1152" y="3714"/>
                </a:lnTo>
                <a:lnTo>
                  <a:pt x="1164" y="3726"/>
                </a:lnTo>
                <a:lnTo>
                  <a:pt x="1176" y="3732"/>
                </a:lnTo>
                <a:lnTo>
                  <a:pt x="1182" y="3738"/>
                </a:lnTo>
                <a:lnTo>
                  <a:pt x="1194" y="3738"/>
                </a:lnTo>
                <a:lnTo>
                  <a:pt x="1200" y="3750"/>
                </a:lnTo>
                <a:lnTo>
                  <a:pt x="1212" y="3750"/>
                </a:lnTo>
                <a:lnTo>
                  <a:pt x="1218" y="3744"/>
                </a:lnTo>
                <a:lnTo>
                  <a:pt x="1212" y="3738"/>
                </a:lnTo>
                <a:lnTo>
                  <a:pt x="1194" y="3732"/>
                </a:lnTo>
                <a:lnTo>
                  <a:pt x="1194" y="3714"/>
                </a:lnTo>
                <a:lnTo>
                  <a:pt x="1218" y="3708"/>
                </a:lnTo>
                <a:lnTo>
                  <a:pt x="1236" y="3708"/>
                </a:lnTo>
                <a:lnTo>
                  <a:pt x="1248" y="3702"/>
                </a:lnTo>
                <a:lnTo>
                  <a:pt x="1254" y="3702"/>
                </a:lnTo>
                <a:lnTo>
                  <a:pt x="1260" y="3702"/>
                </a:lnTo>
                <a:lnTo>
                  <a:pt x="1266" y="3708"/>
                </a:lnTo>
                <a:lnTo>
                  <a:pt x="1272" y="3708"/>
                </a:lnTo>
                <a:lnTo>
                  <a:pt x="1278" y="3696"/>
                </a:lnTo>
                <a:lnTo>
                  <a:pt x="1290" y="3708"/>
                </a:lnTo>
                <a:lnTo>
                  <a:pt x="1290" y="3714"/>
                </a:lnTo>
                <a:lnTo>
                  <a:pt x="1278" y="3726"/>
                </a:lnTo>
                <a:lnTo>
                  <a:pt x="1284" y="3732"/>
                </a:lnTo>
                <a:lnTo>
                  <a:pt x="1284" y="3738"/>
                </a:lnTo>
                <a:lnTo>
                  <a:pt x="1290" y="3744"/>
                </a:lnTo>
                <a:lnTo>
                  <a:pt x="1296" y="3744"/>
                </a:lnTo>
                <a:lnTo>
                  <a:pt x="1308" y="3738"/>
                </a:lnTo>
                <a:lnTo>
                  <a:pt x="1314" y="3744"/>
                </a:lnTo>
                <a:lnTo>
                  <a:pt x="1332" y="3744"/>
                </a:lnTo>
                <a:lnTo>
                  <a:pt x="1326" y="3762"/>
                </a:lnTo>
                <a:lnTo>
                  <a:pt x="1338" y="3774"/>
                </a:lnTo>
                <a:lnTo>
                  <a:pt x="1362" y="3786"/>
                </a:lnTo>
                <a:lnTo>
                  <a:pt x="1374" y="3774"/>
                </a:lnTo>
                <a:lnTo>
                  <a:pt x="1392" y="3768"/>
                </a:lnTo>
                <a:lnTo>
                  <a:pt x="1410" y="3762"/>
                </a:lnTo>
                <a:lnTo>
                  <a:pt x="1428" y="3768"/>
                </a:lnTo>
                <a:lnTo>
                  <a:pt x="1440" y="3768"/>
                </a:lnTo>
                <a:lnTo>
                  <a:pt x="1440" y="3762"/>
                </a:lnTo>
                <a:lnTo>
                  <a:pt x="1428" y="3756"/>
                </a:lnTo>
                <a:lnTo>
                  <a:pt x="1422" y="3750"/>
                </a:lnTo>
                <a:lnTo>
                  <a:pt x="1410" y="3744"/>
                </a:lnTo>
                <a:lnTo>
                  <a:pt x="1404" y="3744"/>
                </a:lnTo>
                <a:lnTo>
                  <a:pt x="1392" y="3744"/>
                </a:lnTo>
                <a:lnTo>
                  <a:pt x="1380" y="3756"/>
                </a:lnTo>
                <a:lnTo>
                  <a:pt x="1362" y="3756"/>
                </a:lnTo>
                <a:lnTo>
                  <a:pt x="1350" y="3750"/>
                </a:lnTo>
                <a:lnTo>
                  <a:pt x="1350" y="3744"/>
                </a:lnTo>
                <a:lnTo>
                  <a:pt x="1380" y="3744"/>
                </a:lnTo>
                <a:lnTo>
                  <a:pt x="1386" y="3738"/>
                </a:lnTo>
                <a:lnTo>
                  <a:pt x="1386" y="3732"/>
                </a:lnTo>
                <a:lnTo>
                  <a:pt x="1380" y="3714"/>
                </a:lnTo>
                <a:lnTo>
                  <a:pt x="1350" y="3702"/>
                </a:lnTo>
                <a:lnTo>
                  <a:pt x="1326" y="3696"/>
                </a:lnTo>
                <a:lnTo>
                  <a:pt x="1314" y="3690"/>
                </a:lnTo>
                <a:lnTo>
                  <a:pt x="1308" y="3684"/>
                </a:lnTo>
                <a:lnTo>
                  <a:pt x="1284" y="3666"/>
                </a:lnTo>
                <a:lnTo>
                  <a:pt x="1278" y="3648"/>
                </a:lnTo>
                <a:lnTo>
                  <a:pt x="1242" y="3636"/>
                </a:lnTo>
                <a:lnTo>
                  <a:pt x="1218" y="3648"/>
                </a:lnTo>
                <a:lnTo>
                  <a:pt x="1200" y="3642"/>
                </a:lnTo>
                <a:lnTo>
                  <a:pt x="1200" y="3648"/>
                </a:lnTo>
                <a:lnTo>
                  <a:pt x="1164" y="3654"/>
                </a:lnTo>
                <a:lnTo>
                  <a:pt x="1152" y="3666"/>
                </a:lnTo>
                <a:lnTo>
                  <a:pt x="1134" y="3666"/>
                </a:lnTo>
                <a:lnTo>
                  <a:pt x="1128" y="3666"/>
                </a:lnTo>
                <a:lnTo>
                  <a:pt x="1104" y="3684"/>
                </a:lnTo>
                <a:lnTo>
                  <a:pt x="1086" y="3690"/>
                </a:lnTo>
                <a:lnTo>
                  <a:pt x="1074" y="3696"/>
                </a:lnTo>
                <a:lnTo>
                  <a:pt x="1056" y="3696"/>
                </a:lnTo>
                <a:lnTo>
                  <a:pt x="1044" y="3696"/>
                </a:lnTo>
                <a:lnTo>
                  <a:pt x="1008" y="3708"/>
                </a:lnTo>
                <a:lnTo>
                  <a:pt x="996" y="3702"/>
                </a:lnTo>
                <a:lnTo>
                  <a:pt x="984" y="3708"/>
                </a:lnTo>
                <a:lnTo>
                  <a:pt x="978" y="3702"/>
                </a:lnTo>
                <a:lnTo>
                  <a:pt x="954" y="3690"/>
                </a:lnTo>
                <a:lnTo>
                  <a:pt x="942" y="3690"/>
                </a:lnTo>
                <a:lnTo>
                  <a:pt x="936" y="3684"/>
                </a:lnTo>
                <a:lnTo>
                  <a:pt x="918" y="3678"/>
                </a:lnTo>
                <a:lnTo>
                  <a:pt x="912" y="3660"/>
                </a:lnTo>
                <a:lnTo>
                  <a:pt x="906" y="3648"/>
                </a:lnTo>
                <a:lnTo>
                  <a:pt x="894" y="3642"/>
                </a:lnTo>
                <a:lnTo>
                  <a:pt x="882" y="3642"/>
                </a:lnTo>
                <a:lnTo>
                  <a:pt x="882" y="3630"/>
                </a:lnTo>
                <a:lnTo>
                  <a:pt x="894" y="3630"/>
                </a:lnTo>
                <a:lnTo>
                  <a:pt x="906" y="3624"/>
                </a:lnTo>
                <a:lnTo>
                  <a:pt x="912" y="3624"/>
                </a:lnTo>
                <a:lnTo>
                  <a:pt x="924" y="3618"/>
                </a:lnTo>
                <a:lnTo>
                  <a:pt x="930" y="3618"/>
                </a:lnTo>
                <a:lnTo>
                  <a:pt x="948" y="3606"/>
                </a:lnTo>
                <a:lnTo>
                  <a:pt x="960" y="3594"/>
                </a:lnTo>
                <a:lnTo>
                  <a:pt x="966" y="3600"/>
                </a:lnTo>
                <a:lnTo>
                  <a:pt x="966" y="3606"/>
                </a:lnTo>
                <a:lnTo>
                  <a:pt x="960" y="3612"/>
                </a:lnTo>
                <a:lnTo>
                  <a:pt x="972" y="3606"/>
                </a:lnTo>
                <a:lnTo>
                  <a:pt x="978" y="3600"/>
                </a:lnTo>
                <a:lnTo>
                  <a:pt x="984" y="3594"/>
                </a:lnTo>
                <a:lnTo>
                  <a:pt x="990" y="3594"/>
                </a:lnTo>
                <a:lnTo>
                  <a:pt x="996" y="3582"/>
                </a:lnTo>
                <a:lnTo>
                  <a:pt x="1008" y="3588"/>
                </a:lnTo>
                <a:lnTo>
                  <a:pt x="1026" y="3594"/>
                </a:lnTo>
                <a:lnTo>
                  <a:pt x="1026" y="3600"/>
                </a:lnTo>
                <a:lnTo>
                  <a:pt x="1032" y="3600"/>
                </a:lnTo>
                <a:lnTo>
                  <a:pt x="1044" y="3594"/>
                </a:lnTo>
                <a:lnTo>
                  <a:pt x="1050" y="3594"/>
                </a:lnTo>
                <a:lnTo>
                  <a:pt x="1050" y="3606"/>
                </a:lnTo>
                <a:lnTo>
                  <a:pt x="1062" y="3612"/>
                </a:lnTo>
                <a:lnTo>
                  <a:pt x="1074" y="3612"/>
                </a:lnTo>
                <a:lnTo>
                  <a:pt x="1080" y="3600"/>
                </a:lnTo>
                <a:lnTo>
                  <a:pt x="1086" y="3594"/>
                </a:lnTo>
                <a:lnTo>
                  <a:pt x="1098" y="3594"/>
                </a:lnTo>
                <a:lnTo>
                  <a:pt x="1092" y="3588"/>
                </a:lnTo>
                <a:lnTo>
                  <a:pt x="1074" y="3588"/>
                </a:lnTo>
                <a:lnTo>
                  <a:pt x="1068" y="3564"/>
                </a:lnTo>
                <a:lnTo>
                  <a:pt x="1056" y="3564"/>
                </a:lnTo>
                <a:lnTo>
                  <a:pt x="1050" y="3558"/>
                </a:lnTo>
                <a:lnTo>
                  <a:pt x="1038" y="3558"/>
                </a:lnTo>
                <a:lnTo>
                  <a:pt x="1032" y="3552"/>
                </a:lnTo>
                <a:lnTo>
                  <a:pt x="1020" y="3552"/>
                </a:lnTo>
                <a:lnTo>
                  <a:pt x="1014" y="3558"/>
                </a:lnTo>
                <a:lnTo>
                  <a:pt x="1008" y="3576"/>
                </a:lnTo>
                <a:lnTo>
                  <a:pt x="1002" y="3570"/>
                </a:lnTo>
                <a:lnTo>
                  <a:pt x="996" y="3564"/>
                </a:lnTo>
                <a:lnTo>
                  <a:pt x="990" y="3546"/>
                </a:lnTo>
                <a:lnTo>
                  <a:pt x="990" y="3534"/>
                </a:lnTo>
                <a:lnTo>
                  <a:pt x="984" y="3516"/>
                </a:lnTo>
                <a:lnTo>
                  <a:pt x="1008" y="3492"/>
                </a:lnTo>
                <a:lnTo>
                  <a:pt x="1020" y="3492"/>
                </a:lnTo>
                <a:lnTo>
                  <a:pt x="1026" y="3468"/>
                </a:lnTo>
                <a:lnTo>
                  <a:pt x="1038" y="3444"/>
                </a:lnTo>
                <a:lnTo>
                  <a:pt x="1050" y="3444"/>
                </a:lnTo>
                <a:lnTo>
                  <a:pt x="1038" y="3468"/>
                </a:lnTo>
                <a:lnTo>
                  <a:pt x="1044" y="3468"/>
                </a:lnTo>
                <a:lnTo>
                  <a:pt x="1050" y="3468"/>
                </a:lnTo>
                <a:lnTo>
                  <a:pt x="1068" y="3432"/>
                </a:lnTo>
                <a:lnTo>
                  <a:pt x="1080" y="3426"/>
                </a:lnTo>
                <a:lnTo>
                  <a:pt x="1080" y="3420"/>
                </a:lnTo>
                <a:lnTo>
                  <a:pt x="1092" y="3402"/>
                </a:lnTo>
                <a:lnTo>
                  <a:pt x="1128" y="3372"/>
                </a:lnTo>
                <a:lnTo>
                  <a:pt x="1128" y="3378"/>
                </a:lnTo>
                <a:lnTo>
                  <a:pt x="1134" y="3384"/>
                </a:lnTo>
                <a:lnTo>
                  <a:pt x="1146" y="3378"/>
                </a:lnTo>
                <a:lnTo>
                  <a:pt x="1164" y="3384"/>
                </a:lnTo>
                <a:lnTo>
                  <a:pt x="1188" y="3372"/>
                </a:lnTo>
                <a:lnTo>
                  <a:pt x="1194" y="3378"/>
                </a:lnTo>
                <a:lnTo>
                  <a:pt x="1224" y="3384"/>
                </a:lnTo>
                <a:lnTo>
                  <a:pt x="1242" y="3384"/>
                </a:lnTo>
                <a:lnTo>
                  <a:pt x="1254" y="3390"/>
                </a:lnTo>
                <a:lnTo>
                  <a:pt x="1266" y="3396"/>
                </a:lnTo>
                <a:lnTo>
                  <a:pt x="1272" y="3396"/>
                </a:lnTo>
                <a:lnTo>
                  <a:pt x="1272" y="3390"/>
                </a:lnTo>
                <a:lnTo>
                  <a:pt x="1272" y="3384"/>
                </a:lnTo>
                <a:lnTo>
                  <a:pt x="1266" y="3372"/>
                </a:lnTo>
                <a:lnTo>
                  <a:pt x="1260" y="3372"/>
                </a:lnTo>
                <a:lnTo>
                  <a:pt x="1242" y="3366"/>
                </a:lnTo>
                <a:lnTo>
                  <a:pt x="1242" y="3360"/>
                </a:lnTo>
                <a:lnTo>
                  <a:pt x="1260" y="3360"/>
                </a:lnTo>
                <a:lnTo>
                  <a:pt x="1272" y="3354"/>
                </a:lnTo>
                <a:lnTo>
                  <a:pt x="1296" y="3336"/>
                </a:lnTo>
                <a:lnTo>
                  <a:pt x="1308" y="3330"/>
                </a:lnTo>
                <a:lnTo>
                  <a:pt x="1308" y="3324"/>
                </a:lnTo>
                <a:lnTo>
                  <a:pt x="1290" y="3318"/>
                </a:lnTo>
                <a:lnTo>
                  <a:pt x="1272" y="3312"/>
                </a:lnTo>
                <a:lnTo>
                  <a:pt x="1260" y="3312"/>
                </a:lnTo>
                <a:lnTo>
                  <a:pt x="1242" y="3318"/>
                </a:lnTo>
                <a:lnTo>
                  <a:pt x="1230" y="3312"/>
                </a:lnTo>
                <a:lnTo>
                  <a:pt x="1230" y="3318"/>
                </a:lnTo>
                <a:lnTo>
                  <a:pt x="1230" y="3330"/>
                </a:lnTo>
                <a:lnTo>
                  <a:pt x="1218" y="3330"/>
                </a:lnTo>
                <a:lnTo>
                  <a:pt x="1212" y="3318"/>
                </a:lnTo>
                <a:lnTo>
                  <a:pt x="1206" y="3324"/>
                </a:lnTo>
                <a:lnTo>
                  <a:pt x="1194" y="3330"/>
                </a:lnTo>
                <a:lnTo>
                  <a:pt x="1188" y="3330"/>
                </a:lnTo>
                <a:lnTo>
                  <a:pt x="1170" y="3348"/>
                </a:lnTo>
                <a:lnTo>
                  <a:pt x="1158" y="3348"/>
                </a:lnTo>
                <a:lnTo>
                  <a:pt x="1158" y="3342"/>
                </a:lnTo>
                <a:lnTo>
                  <a:pt x="1176" y="3336"/>
                </a:lnTo>
                <a:lnTo>
                  <a:pt x="1182" y="3330"/>
                </a:lnTo>
                <a:lnTo>
                  <a:pt x="1182" y="3318"/>
                </a:lnTo>
                <a:lnTo>
                  <a:pt x="1170" y="3324"/>
                </a:lnTo>
                <a:lnTo>
                  <a:pt x="1158" y="3318"/>
                </a:lnTo>
                <a:lnTo>
                  <a:pt x="1122" y="3342"/>
                </a:lnTo>
                <a:lnTo>
                  <a:pt x="1110" y="3330"/>
                </a:lnTo>
                <a:lnTo>
                  <a:pt x="1104" y="3330"/>
                </a:lnTo>
                <a:lnTo>
                  <a:pt x="1086" y="3336"/>
                </a:lnTo>
                <a:lnTo>
                  <a:pt x="1092" y="3306"/>
                </a:lnTo>
                <a:lnTo>
                  <a:pt x="1110" y="3294"/>
                </a:lnTo>
                <a:lnTo>
                  <a:pt x="1128" y="3276"/>
                </a:lnTo>
                <a:lnTo>
                  <a:pt x="1134" y="3264"/>
                </a:lnTo>
                <a:lnTo>
                  <a:pt x="1128" y="3264"/>
                </a:lnTo>
                <a:lnTo>
                  <a:pt x="1110" y="3270"/>
                </a:lnTo>
                <a:lnTo>
                  <a:pt x="1110" y="3282"/>
                </a:lnTo>
                <a:lnTo>
                  <a:pt x="1086" y="3288"/>
                </a:lnTo>
                <a:lnTo>
                  <a:pt x="1074" y="3300"/>
                </a:lnTo>
                <a:lnTo>
                  <a:pt x="1068" y="3312"/>
                </a:lnTo>
                <a:lnTo>
                  <a:pt x="1068" y="3330"/>
                </a:lnTo>
                <a:lnTo>
                  <a:pt x="1050" y="3330"/>
                </a:lnTo>
                <a:lnTo>
                  <a:pt x="1032" y="3342"/>
                </a:lnTo>
                <a:lnTo>
                  <a:pt x="1032" y="3354"/>
                </a:lnTo>
                <a:lnTo>
                  <a:pt x="1008" y="3396"/>
                </a:lnTo>
                <a:lnTo>
                  <a:pt x="1002" y="3396"/>
                </a:lnTo>
                <a:lnTo>
                  <a:pt x="996" y="3390"/>
                </a:lnTo>
                <a:lnTo>
                  <a:pt x="990" y="3390"/>
                </a:lnTo>
                <a:lnTo>
                  <a:pt x="996" y="3378"/>
                </a:lnTo>
                <a:lnTo>
                  <a:pt x="990" y="3378"/>
                </a:lnTo>
                <a:lnTo>
                  <a:pt x="978" y="3384"/>
                </a:lnTo>
                <a:lnTo>
                  <a:pt x="948" y="3390"/>
                </a:lnTo>
                <a:lnTo>
                  <a:pt x="942" y="3390"/>
                </a:lnTo>
                <a:lnTo>
                  <a:pt x="954" y="3378"/>
                </a:lnTo>
                <a:lnTo>
                  <a:pt x="972" y="3378"/>
                </a:lnTo>
                <a:lnTo>
                  <a:pt x="972" y="3372"/>
                </a:lnTo>
                <a:lnTo>
                  <a:pt x="954" y="3372"/>
                </a:lnTo>
                <a:lnTo>
                  <a:pt x="942" y="3372"/>
                </a:lnTo>
                <a:lnTo>
                  <a:pt x="942" y="3360"/>
                </a:lnTo>
                <a:lnTo>
                  <a:pt x="942" y="3354"/>
                </a:lnTo>
                <a:lnTo>
                  <a:pt x="936" y="3354"/>
                </a:lnTo>
                <a:lnTo>
                  <a:pt x="936" y="3342"/>
                </a:lnTo>
                <a:lnTo>
                  <a:pt x="948" y="3318"/>
                </a:lnTo>
                <a:lnTo>
                  <a:pt x="936" y="3318"/>
                </a:lnTo>
                <a:lnTo>
                  <a:pt x="948" y="3306"/>
                </a:lnTo>
                <a:lnTo>
                  <a:pt x="942" y="3306"/>
                </a:lnTo>
                <a:lnTo>
                  <a:pt x="912" y="3318"/>
                </a:lnTo>
                <a:lnTo>
                  <a:pt x="918" y="3306"/>
                </a:lnTo>
                <a:lnTo>
                  <a:pt x="966" y="3270"/>
                </a:lnTo>
                <a:lnTo>
                  <a:pt x="972" y="3258"/>
                </a:lnTo>
                <a:lnTo>
                  <a:pt x="960" y="3252"/>
                </a:lnTo>
                <a:lnTo>
                  <a:pt x="960" y="3234"/>
                </a:lnTo>
                <a:lnTo>
                  <a:pt x="966" y="3234"/>
                </a:lnTo>
                <a:lnTo>
                  <a:pt x="972" y="3234"/>
                </a:lnTo>
                <a:lnTo>
                  <a:pt x="978" y="3228"/>
                </a:lnTo>
                <a:lnTo>
                  <a:pt x="972" y="3222"/>
                </a:lnTo>
                <a:lnTo>
                  <a:pt x="960" y="3222"/>
                </a:lnTo>
                <a:lnTo>
                  <a:pt x="960" y="3216"/>
                </a:lnTo>
                <a:lnTo>
                  <a:pt x="978" y="3210"/>
                </a:lnTo>
                <a:lnTo>
                  <a:pt x="972" y="3198"/>
                </a:lnTo>
                <a:lnTo>
                  <a:pt x="972" y="3192"/>
                </a:lnTo>
                <a:lnTo>
                  <a:pt x="984" y="3186"/>
                </a:lnTo>
                <a:lnTo>
                  <a:pt x="990" y="3180"/>
                </a:lnTo>
                <a:lnTo>
                  <a:pt x="984" y="3174"/>
                </a:lnTo>
                <a:lnTo>
                  <a:pt x="960" y="3186"/>
                </a:lnTo>
                <a:lnTo>
                  <a:pt x="954" y="3180"/>
                </a:lnTo>
                <a:lnTo>
                  <a:pt x="942" y="3180"/>
                </a:lnTo>
                <a:lnTo>
                  <a:pt x="924" y="3186"/>
                </a:lnTo>
                <a:lnTo>
                  <a:pt x="918" y="3180"/>
                </a:lnTo>
                <a:lnTo>
                  <a:pt x="906" y="3180"/>
                </a:lnTo>
                <a:lnTo>
                  <a:pt x="906" y="3144"/>
                </a:lnTo>
                <a:lnTo>
                  <a:pt x="918" y="3138"/>
                </a:lnTo>
                <a:lnTo>
                  <a:pt x="906" y="3126"/>
                </a:lnTo>
                <a:lnTo>
                  <a:pt x="918" y="3120"/>
                </a:lnTo>
                <a:lnTo>
                  <a:pt x="930" y="3096"/>
                </a:lnTo>
                <a:lnTo>
                  <a:pt x="942" y="3090"/>
                </a:lnTo>
                <a:lnTo>
                  <a:pt x="942" y="3084"/>
                </a:lnTo>
                <a:lnTo>
                  <a:pt x="924" y="3084"/>
                </a:lnTo>
                <a:lnTo>
                  <a:pt x="930" y="3066"/>
                </a:lnTo>
                <a:lnTo>
                  <a:pt x="924" y="3048"/>
                </a:lnTo>
                <a:lnTo>
                  <a:pt x="930" y="3036"/>
                </a:lnTo>
                <a:lnTo>
                  <a:pt x="906" y="2988"/>
                </a:lnTo>
                <a:lnTo>
                  <a:pt x="912" y="2976"/>
                </a:lnTo>
                <a:lnTo>
                  <a:pt x="918" y="2976"/>
                </a:lnTo>
                <a:lnTo>
                  <a:pt x="918" y="2994"/>
                </a:lnTo>
                <a:lnTo>
                  <a:pt x="924" y="3006"/>
                </a:lnTo>
                <a:lnTo>
                  <a:pt x="942" y="3036"/>
                </a:lnTo>
                <a:lnTo>
                  <a:pt x="948" y="3036"/>
                </a:lnTo>
                <a:lnTo>
                  <a:pt x="978" y="3042"/>
                </a:lnTo>
                <a:lnTo>
                  <a:pt x="978" y="3030"/>
                </a:lnTo>
                <a:lnTo>
                  <a:pt x="954" y="3030"/>
                </a:lnTo>
                <a:lnTo>
                  <a:pt x="954" y="3024"/>
                </a:lnTo>
                <a:lnTo>
                  <a:pt x="990" y="3000"/>
                </a:lnTo>
                <a:lnTo>
                  <a:pt x="996" y="2994"/>
                </a:lnTo>
                <a:lnTo>
                  <a:pt x="1014" y="3006"/>
                </a:lnTo>
                <a:lnTo>
                  <a:pt x="1014" y="2994"/>
                </a:lnTo>
                <a:lnTo>
                  <a:pt x="996" y="2976"/>
                </a:lnTo>
                <a:lnTo>
                  <a:pt x="1008" y="2970"/>
                </a:lnTo>
                <a:lnTo>
                  <a:pt x="1020" y="2964"/>
                </a:lnTo>
                <a:lnTo>
                  <a:pt x="1032" y="2976"/>
                </a:lnTo>
                <a:lnTo>
                  <a:pt x="1038" y="2976"/>
                </a:lnTo>
                <a:lnTo>
                  <a:pt x="1062" y="2976"/>
                </a:lnTo>
                <a:lnTo>
                  <a:pt x="1116" y="2964"/>
                </a:lnTo>
                <a:lnTo>
                  <a:pt x="1134" y="2958"/>
                </a:lnTo>
                <a:lnTo>
                  <a:pt x="1140" y="2952"/>
                </a:lnTo>
                <a:lnTo>
                  <a:pt x="1116" y="2946"/>
                </a:lnTo>
                <a:lnTo>
                  <a:pt x="1110" y="2946"/>
                </a:lnTo>
                <a:lnTo>
                  <a:pt x="1080" y="2964"/>
                </a:lnTo>
                <a:lnTo>
                  <a:pt x="1056" y="2964"/>
                </a:lnTo>
                <a:lnTo>
                  <a:pt x="1020" y="2952"/>
                </a:lnTo>
                <a:lnTo>
                  <a:pt x="936" y="2976"/>
                </a:lnTo>
                <a:lnTo>
                  <a:pt x="936" y="2970"/>
                </a:lnTo>
                <a:lnTo>
                  <a:pt x="942" y="2964"/>
                </a:lnTo>
                <a:lnTo>
                  <a:pt x="942" y="2952"/>
                </a:lnTo>
                <a:lnTo>
                  <a:pt x="966" y="2952"/>
                </a:lnTo>
                <a:lnTo>
                  <a:pt x="978" y="2946"/>
                </a:lnTo>
                <a:lnTo>
                  <a:pt x="1002" y="2928"/>
                </a:lnTo>
                <a:lnTo>
                  <a:pt x="1014" y="2928"/>
                </a:lnTo>
                <a:lnTo>
                  <a:pt x="1026" y="2910"/>
                </a:lnTo>
                <a:lnTo>
                  <a:pt x="1038" y="2892"/>
                </a:lnTo>
                <a:lnTo>
                  <a:pt x="1044" y="2892"/>
                </a:lnTo>
                <a:lnTo>
                  <a:pt x="1062" y="2892"/>
                </a:lnTo>
                <a:lnTo>
                  <a:pt x="1068" y="2886"/>
                </a:lnTo>
                <a:lnTo>
                  <a:pt x="1068" y="2874"/>
                </a:lnTo>
                <a:lnTo>
                  <a:pt x="1056" y="2862"/>
                </a:lnTo>
                <a:lnTo>
                  <a:pt x="1050" y="2844"/>
                </a:lnTo>
                <a:lnTo>
                  <a:pt x="1044" y="2844"/>
                </a:lnTo>
                <a:lnTo>
                  <a:pt x="1038" y="2844"/>
                </a:lnTo>
                <a:lnTo>
                  <a:pt x="1032" y="2844"/>
                </a:lnTo>
                <a:lnTo>
                  <a:pt x="1026" y="2838"/>
                </a:lnTo>
                <a:lnTo>
                  <a:pt x="1014" y="2832"/>
                </a:lnTo>
                <a:lnTo>
                  <a:pt x="996" y="2838"/>
                </a:lnTo>
                <a:lnTo>
                  <a:pt x="990" y="2826"/>
                </a:lnTo>
                <a:lnTo>
                  <a:pt x="990" y="2820"/>
                </a:lnTo>
                <a:lnTo>
                  <a:pt x="1002" y="2826"/>
                </a:lnTo>
                <a:lnTo>
                  <a:pt x="1008" y="2808"/>
                </a:lnTo>
                <a:lnTo>
                  <a:pt x="1020" y="2808"/>
                </a:lnTo>
                <a:lnTo>
                  <a:pt x="1026" y="2802"/>
                </a:lnTo>
                <a:lnTo>
                  <a:pt x="1008" y="2796"/>
                </a:lnTo>
                <a:lnTo>
                  <a:pt x="996" y="2796"/>
                </a:lnTo>
                <a:lnTo>
                  <a:pt x="1002" y="2790"/>
                </a:lnTo>
                <a:lnTo>
                  <a:pt x="1026" y="2784"/>
                </a:lnTo>
                <a:lnTo>
                  <a:pt x="1044" y="2766"/>
                </a:lnTo>
                <a:lnTo>
                  <a:pt x="1050" y="2760"/>
                </a:lnTo>
                <a:lnTo>
                  <a:pt x="1068" y="2754"/>
                </a:lnTo>
                <a:lnTo>
                  <a:pt x="1062" y="2748"/>
                </a:lnTo>
                <a:lnTo>
                  <a:pt x="1056" y="2748"/>
                </a:lnTo>
                <a:lnTo>
                  <a:pt x="1038" y="2754"/>
                </a:lnTo>
                <a:lnTo>
                  <a:pt x="1032" y="2766"/>
                </a:lnTo>
                <a:lnTo>
                  <a:pt x="1020" y="2772"/>
                </a:lnTo>
                <a:lnTo>
                  <a:pt x="1008" y="2766"/>
                </a:lnTo>
                <a:lnTo>
                  <a:pt x="1008" y="2760"/>
                </a:lnTo>
                <a:lnTo>
                  <a:pt x="1008" y="2754"/>
                </a:lnTo>
                <a:lnTo>
                  <a:pt x="1014" y="2754"/>
                </a:lnTo>
                <a:lnTo>
                  <a:pt x="1020" y="2754"/>
                </a:lnTo>
                <a:lnTo>
                  <a:pt x="1026" y="2748"/>
                </a:lnTo>
                <a:lnTo>
                  <a:pt x="1020" y="2742"/>
                </a:lnTo>
                <a:lnTo>
                  <a:pt x="1020" y="2748"/>
                </a:lnTo>
                <a:lnTo>
                  <a:pt x="1014" y="2754"/>
                </a:lnTo>
                <a:lnTo>
                  <a:pt x="1008" y="2754"/>
                </a:lnTo>
                <a:lnTo>
                  <a:pt x="1002" y="2748"/>
                </a:lnTo>
                <a:lnTo>
                  <a:pt x="996" y="2748"/>
                </a:lnTo>
                <a:lnTo>
                  <a:pt x="990" y="2760"/>
                </a:lnTo>
                <a:lnTo>
                  <a:pt x="984" y="2760"/>
                </a:lnTo>
                <a:lnTo>
                  <a:pt x="966" y="2742"/>
                </a:lnTo>
                <a:lnTo>
                  <a:pt x="966" y="2736"/>
                </a:lnTo>
                <a:lnTo>
                  <a:pt x="954" y="2736"/>
                </a:lnTo>
                <a:lnTo>
                  <a:pt x="936" y="2742"/>
                </a:lnTo>
                <a:lnTo>
                  <a:pt x="906" y="2748"/>
                </a:lnTo>
                <a:lnTo>
                  <a:pt x="906" y="2754"/>
                </a:lnTo>
                <a:lnTo>
                  <a:pt x="918" y="2766"/>
                </a:lnTo>
                <a:lnTo>
                  <a:pt x="906" y="2766"/>
                </a:lnTo>
                <a:lnTo>
                  <a:pt x="882" y="2748"/>
                </a:lnTo>
                <a:lnTo>
                  <a:pt x="858" y="2754"/>
                </a:lnTo>
                <a:lnTo>
                  <a:pt x="852" y="2748"/>
                </a:lnTo>
                <a:lnTo>
                  <a:pt x="834" y="2724"/>
                </a:lnTo>
                <a:lnTo>
                  <a:pt x="840" y="2724"/>
                </a:lnTo>
                <a:lnTo>
                  <a:pt x="864" y="2742"/>
                </a:lnTo>
                <a:lnTo>
                  <a:pt x="870" y="2742"/>
                </a:lnTo>
                <a:lnTo>
                  <a:pt x="876" y="2736"/>
                </a:lnTo>
                <a:lnTo>
                  <a:pt x="870" y="2724"/>
                </a:lnTo>
                <a:lnTo>
                  <a:pt x="864" y="2724"/>
                </a:lnTo>
                <a:lnTo>
                  <a:pt x="858" y="2712"/>
                </a:lnTo>
                <a:lnTo>
                  <a:pt x="864" y="2712"/>
                </a:lnTo>
                <a:lnTo>
                  <a:pt x="870" y="2694"/>
                </a:lnTo>
                <a:lnTo>
                  <a:pt x="864" y="2688"/>
                </a:lnTo>
                <a:lnTo>
                  <a:pt x="858" y="2682"/>
                </a:lnTo>
                <a:lnTo>
                  <a:pt x="852" y="2676"/>
                </a:lnTo>
                <a:lnTo>
                  <a:pt x="846" y="2676"/>
                </a:lnTo>
                <a:lnTo>
                  <a:pt x="816" y="2670"/>
                </a:lnTo>
                <a:lnTo>
                  <a:pt x="804" y="2664"/>
                </a:lnTo>
                <a:lnTo>
                  <a:pt x="798" y="2658"/>
                </a:lnTo>
                <a:lnTo>
                  <a:pt x="792" y="2664"/>
                </a:lnTo>
                <a:lnTo>
                  <a:pt x="816" y="2700"/>
                </a:lnTo>
                <a:lnTo>
                  <a:pt x="822" y="2724"/>
                </a:lnTo>
                <a:lnTo>
                  <a:pt x="804" y="2706"/>
                </a:lnTo>
                <a:lnTo>
                  <a:pt x="792" y="2676"/>
                </a:lnTo>
                <a:lnTo>
                  <a:pt x="774" y="2664"/>
                </a:lnTo>
                <a:lnTo>
                  <a:pt x="768" y="2658"/>
                </a:lnTo>
                <a:lnTo>
                  <a:pt x="756" y="2652"/>
                </a:lnTo>
                <a:lnTo>
                  <a:pt x="750" y="2634"/>
                </a:lnTo>
                <a:lnTo>
                  <a:pt x="696" y="2622"/>
                </a:lnTo>
                <a:lnTo>
                  <a:pt x="678" y="2616"/>
                </a:lnTo>
                <a:lnTo>
                  <a:pt x="672" y="2598"/>
                </a:lnTo>
                <a:lnTo>
                  <a:pt x="648" y="2586"/>
                </a:lnTo>
                <a:lnTo>
                  <a:pt x="642" y="2580"/>
                </a:lnTo>
                <a:lnTo>
                  <a:pt x="642" y="2586"/>
                </a:lnTo>
                <a:lnTo>
                  <a:pt x="624" y="2580"/>
                </a:lnTo>
                <a:lnTo>
                  <a:pt x="606" y="2568"/>
                </a:lnTo>
                <a:lnTo>
                  <a:pt x="588" y="2556"/>
                </a:lnTo>
                <a:lnTo>
                  <a:pt x="564" y="2538"/>
                </a:lnTo>
                <a:lnTo>
                  <a:pt x="546" y="2520"/>
                </a:lnTo>
                <a:lnTo>
                  <a:pt x="528" y="2508"/>
                </a:lnTo>
                <a:lnTo>
                  <a:pt x="492" y="2466"/>
                </a:lnTo>
                <a:lnTo>
                  <a:pt x="480" y="2454"/>
                </a:lnTo>
                <a:lnTo>
                  <a:pt x="444" y="2436"/>
                </a:lnTo>
                <a:lnTo>
                  <a:pt x="420" y="2430"/>
                </a:lnTo>
                <a:lnTo>
                  <a:pt x="408" y="2436"/>
                </a:lnTo>
                <a:lnTo>
                  <a:pt x="396" y="2454"/>
                </a:lnTo>
                <a:lnTo>
                  <a:pt x="390" y="2460"/>
                </a:lnTo>
                <a:lnTo>
                  <a:pt x="372" y="2460"/>
                </a:lnTo>
                <a:lnTo>
                  <a:pt x="348" y="2460"/>
                </a:lnTo>
                <a:lnTo>
                  <a:pt x="342" y="2454"/>
                </a:lnTo>
                <a:lnTo>
                  <a:pt x="336" y="2430"/>
                </a:lnTo>
                <a:lnTo>
                  <a:pt x="318" y="2418"/>
                </a:lnTo>
                <a:lnTo>
                  <a:pt x="306" y="2412"/>
                </a:lnTo>
                <a:lnTo>
                  <a:pt x="270" y="2400"/>
                </a:lnTo>
                <a:lnTo>
                  <a:pt x="270" y="2394"/>
                </a:lnTo>
                <a:lnTo>
                  <a:pt x="282" y="2394"/>
                </a:lnTo>
                <a:lnTo>
                  <a:pt x="318" y="2406"/>
                </a:lnTo>
                <a:lnTo>
                  <a:pt x="312" y="2400"/>
                </a:lnTo>
                <a:lnTo>
                  <a:pt x="300" y="2388"/>
                </a:lnTo>
                <a:lnTo>
                  <a:pt x="288" y="2388"/>
                </a:lnTo>
                <a:lnTo>
                  <a:pt x="252" y="2388"/>
                </a:lnTo>
                <a:lnTo>
                  <a:pt x="216" y="2406"/>
                </a:lnTo>
                <a:lnTo>
                  <a:pt x="210" y="2412"/>
                </a:lnTo>
                <a:lnTo>
                  <a:pt x="210" y="2418"/>
                </a:lnTo>
                <a:lnTo>
                  <a:pt x="210" y="2436"/>
                </a:lnTo>
                <a:lnTo>
                  <a:pt x="198" y="2442"/>
                </a:lnTo>
                <a:lnTo>
                  <a:pt x="180" y="2454"/>
                </a:lnTo>
                <a:lnTo>
                  <a:pt x="180" y="2466"/>
                </a:lnTo>
                <a:lnTo>
                  <a:pt x="156" y="2460"/>
                </a:lnTo>
                <a:lnTo>
                  <a:pt x="138" y="2442"/>
                </a:lnTo>
                <a:lnTo>
                  <a:pt x="120" y="2442"/>
                </a:lnTo>
                <a:lnTo>
                  <a:pt x="102" y="2442"/>
                </a:lnTo>
                <a:lnTo>
                  <a:pt x="84" y="2430"/>
                </a:lnTo>
                <a:lnTo>
                  <a:pt x="60" y="2436"/>
                </a:lnTo>
                <a:lnTo>
                  <a:pt x="54" y="2418"/>
                </a:lnTo>
                <a:lnTo>
                  <a:pt x="42" y="2412"/>
                </a:lnTo>
                <a:lnTo>
                  <a:pt x="42" y="2400"/>
                </a:lnTo>
                <a:lnTo>
                  <a:pt x="30" y="2394"/>
                </a:lnTo>
                <a:lnTo>
                  <a:pt x="30" y="2388"/>
                </a:lnTo>
                <a:lnTo>
                  <a:pt x="24" y="2382"/>
                </a:lnTo>
                <a:lnTo>
                  <a:pt x="18" y="2370"/>
                </a:lnTo>
                <a:lnTo>
                  <a:pt x="0" y="2358"/>
                </a:lnTo>
                <a:lnTo>
                  <a:pt x="6" y="2346"/>
                </a:lnTo>
                <a:lnTo>
                  <a:pt x="12" y="2310"/>
                </a:lnTo>
                <a:lnTo>
                  <a:pt x="12" y="2292"/>
                </a:lnTo>
                <a:lnTo>
                  <a:pt x="12" y="2238"/>
                </a:lnTo>
                <a:lnTo>
                  <a:pt x="24" y="2226"/>
                </a:lnTo>
                <a:lnTo>
                  <a:pt x="18" y="2220"/>
                </a:lnTo>
                <a:lnTo>
                  <a:pt x="6" y="2226"/>
                </a:lnTo>
                <a:lnTo>
                  <a:pt x="0" y="2226"/>
                </a:lnTo>
                <a:lnTo>
                  <a:pt x="0" y="2220"/>
                </a:lnTo>
                <a:lnTo>
                  <a:pt x="6" y="2190"/>
                </a:lnTo>
                <a:lnTo>
                  <a:pt x="6" y="2154"/>
                </a:lnTo>
                <a:lnTo>
                  <a:pt x="18" y="2112"/>
                </a:lnTo>
                <a:lnTo>
                  <a:pt x="30" y="2112"/>
                </a:lnTo>
                <a:lnTo>
                  <a:pt x="36" y="2124"/>
                </a:lnTo>
                <a:lnTo>
                  <a:pt x="48" y="2124"/>
                </a:lnTo>
                <a:lnTo>
                  <a:pt x="54" y="2124"/>
                </a:lnTo>
                <a:lnTo>
                  <a:pt x="60" y="2130"/>
                </a:lnTo>
                <a:lnTo>
                  <a:pt x="72" y="2118"/>
                </a:lnTo>
                <a:lnTo>
                  <a:pt x="84" y="2124"/>
                </a:lnTo>
                <a:lnTo>
                  <a:pt x="96" y="2112"/>
                </a:lnTo>
                <a:lnTo>
                  <a:pt x="114" y="2112"/>
                </a:lnTo>
                <a:lnTo>
                  <a:pt x="126" y="2100"/>
                </a:lnTo>
                <a:lnTo>
                  <a:pt x="132" y="2100"/>
                </a:lnTo>
                <a:lnTo>
                  <a:pt x="138" y="2112"/>
                </a:lnTo>
                <a:lnTo>
                  <a:pt x="168" y="2106"/>
                </a:lnTo>
                <a:lnTo>
                  <a:pt x="180" y="2106"/>
                </a:lnTo>
                <a:lnTo>
                  <a:pt x="186" y="2118"/>
                </a:lnTo>
                <a:lnTo>
                  <a:pt x="198" y="2112"/>
                </a:lnTo>
                <a:lnTo>
                  <a:pt x="204" y="2124"/>
                </a:lnTo>
                <a:lnTo>
                  <a:pt x="204" y="2130"/>
                </a:lnTo>
                <a:lnTo>
                  <a:pt x="198" y="2124"/>
                </a:lnTo>
                <a:lnTo>
                  <a:pt x="192" y="2130"/>
                </a:lnTo>
                <a:lnTo>
                  <a:pt x="204" y="2154"/>
                </a:lnTo>
                <a:lnTo>
                  <a:pt x="210" y="2160"/>
                </a:lnTo>
                <a:lnTo>
                  <a:pt x="204" y="2136"/>
                </a:lnTo>
                <a:lnTo>
                  <a:pt x="210" y="2136"/>
                </a:lnTo>
                <a:lnTo>
                  <a:pt x="216" y="2166"/>
                </a:lnTo>
                <a:lnTo>
                  <a:pt x="228" y="2178"/>
                </a:lnTo>
                <a:lnTo>
                  <a:pt x="246" y="2196"/>
                </a:lnTo>
                <a:lnTo>
                  <a:pt x="258" y="2208"/>
                </a:lnTo>
                <a:lnTo>
                  <a:pt x="270" y="2226"/>
                </a:lnTo>
                <a:lnTo>
                  <a:pt x="276" y="2226"/>
                </a:lnTo>
                <a:lnTo>
                  <a:pt x="288" y="2232"/>
                </a:lnTo>
                <a:lnTo>
                  <a:pt x="294" y="2238"/>
                </a:lnTo>
                <a:lnTo>
                  <a:pt x="318" y="2232"/>
                </a:lnTo>
                <a:lnTo>
                  <a:pt x="342" y="2214"/>
                </a:lnTo>
                <a:lnTo>
                  <a:pt x="354" y="2214"/>
                </a:lnTo>
                <a:lnTo>
                  <a:pt x="360" y="2226"/>
                </a:lnTo>
                <a:lnTo>
                  <a:pt x="378" y="2232"/>
                </a:lnTo>
                <a:lnTo>
                  <a:pt x="396" y="2226"/>
                </a:lnTo>
                <a:lnTo>
                  <a:pt x="426" y="2202"/>
                </a:lnTo>
                <a:lnTo>
                  <a:pt x="438" y="2196"/>
                </a:lnTo>
                <a:lnTo>
                  <a:pt x="450" y="2196"/>
                </a:lnTo>
                <a:lnTo>
                  <a:pt x="462" y="2208"/>
                </a:lnTo>
                <a:lnTo>
                  <a:pt x="462" y="2214"/>
                </a:lnTo>
                <a:lnTo>
                  <a:pt x="480" y="2220"/>
                </a:lnTo>
                <a:lnTo>
                  <a:pt x="498" y="2220"/>
                </a:lnTo>
                <a:lnTo>
                  <a:pt x="504" y="2226"/>
                </a:lnTo>
                <a:lnTo>
                  <a:pt x="492" y="2232"/>
                </a:lnTo>
                <a:lnTo>
                  <a:pt x="516" y="2244"/>
                </a:lnTo>
                <a:lnTo>
                  <a:pt x="516" y="2226"/>
                </a:lnTo>
                <a:lnTo>
                  <a:pt x="516" y="2214"/>
                </a:lnTo>
                <a:lnTo>
                  <a:pt x="516" y="2208"/>
                </a:lnTo>
                <a:lnTo>
                  <a:pt x="522" y="2214"/>
                </a:lnTo>
                <a:lnTo>
                  <a:pt x="528" y="2214"/>
                </a:lnTo>
                <a:lnTo>
                  <a:pt x="540" y="2214"/>
                </a:lnTo>
                <a:lnTo>
                  <a:pt x="546" y="2208"/>
                </a:lnTo>
                <a:lnTo>
                  <a:pt x="558" y="2226"/>
                </a:lnTo>
                <a:lnTo>
                  <a:pt x="552" y="2244"/>
                </a:lnTo>
                <a:lnTo>
                  <a:pt x="534" y="2256"/>
                </a:lnTo>
                <a:lnTo>
                  <a:pt x="528" y="2262"/>
                </a:lnTo>
                <a:lnTo>
                  <a:pt x="534" y="2274"/>
                </a:lnTo>
                <a:lnTo>
                  <a:pt x="540" y="2274"/>
                </a:lnTo>
                <a:lnTo>
                  <a:pt x="546" y="2274"/>
                </a:lnTo>
                <a:lnTo>
                  <a:pt x="546" y="2262"/>
                </a:lnTo>
                <a:lnTo>
                  <a:pt x="552" y="2256"/>
                </a:lnTo>
                <a:lnTo>
                  <a:pt x="564" y="2262"/>
                </a:lnTo>
                <a:lnTo>
                  <a:pt x="564" y="2268"/>
                </a:lnTo>
                <a:lnTo>
                  <a:pt x="564" y="2280"/>
                </a:lnTo>
                <a:lnTo>
                  <a:pt x="552" y="2286"/>
                </a:lnTo>
                <a:lnTo>
                  <a:pt x="546" y="2292"/>
                </a:lnTo>
                <a:lnTo>
                  <a:pt x="552" y="2304"/>
                </a:lnTo>
                <a:lnTo>
                  <a:pt x="570" y="2304"/>
                </a:lnTo>
                <a:lnTo>
                  <a:pt x="576" y="2310"/>
                </a:lnTo>
                <a:lnTo>
                  <a:pt x="582" y="2316"/>
                </a:lnTo>
                <a:lnTo>
                  <a:pt x="588" y="2322"/>
                </a:lnTo>
                <a:lnTo>
                  <a:pt x="594" y="2322"/>
                </a:lnTo>
                <a:lnTo>
                  <a:pt x="606" y="2316"/>
                </a:lnTo>
                <a:lnTo>
                  <a:pt x="630" y="2286"/>
                </a:lnTo>
                <a:lnTo>
                  <a:pt x="630" y="2268"/>
                </a:lnTo>
                <a:lnTo>
                  <a:pt x="636" y="2250"/>
                </a:lnTo>
                <a:lnTo>
                  <a:pt x="642" y="2220"/>
                </a:lnTo>
                <a:lnTo>
                  <a:pt x="648" y="2208"/>
                </a:lnTo>
                <a:lnTo>
                  <a:pt x="654" y="2208"/>
                </a:lnTo>
                <a:lnTo>
                  <a:pt x="660" y="2202"/>
                </a:lnTo>
                <a:lnTo>
                  <a:pt x="672" y="2196"/>
                </a:lnTo>
                <a:lnTo>
                  <a:pt x="690" y="2190"/>
                </a:lnTo>
                <a:lnTo>
                  <a:pt x="708" y="2202"/>
                </a:lnTo>
                <a:lnTo>
                  <a:pt x="714" y="2214"/>
                </a:lnTo>
                <a:lnTo>
                  <a:pt x="720" y="2220"/>
                </a:lnTo>
                <a:lnTo>
                  <a:pt x="750" y="2244"/>
                </a:lnTo>
                <a:lnTo>
                  <a:pt x="744" y="2244"/>
                </a:lnTo>
                <a:lnTo>
                  <a:pt x="738" y="2250"/>
                </a:lnTo>
                <a:lnTo>
                  <a:pt x="720" y="2256"/>
                </a:lnTo>
                <a:lnTo>
                  <a:pt x="702" y="2274"/>
                </a:lnTo>
                <a:lnTo>
                  <a:pt x="696" y="2292"/>
                </a:lnTo>
                <a:lnTo>
                  <a:pt x="684" y="2286"/>
                </a:lnTo>
                <a:lnTo>
                  <a:pt x="672" y="2298"/>
                </a:lnTo>
                <a:lnTo>
                  <a:pt x="654" y="2310"/>
                </a:lnTo>
                <a:lnTo>
                  <a:pt x="660" y="2328"/>
                </a:lnTo>
                <a:lnTo>
                  <a:pt x="666" y="2328"/>
                </a:lnTo>
                <a:lnTo>
                  <a:pt x="666" y="2340"/>
                </a:lnTo>
                <a:lnTo>
                  <a:pt x="666" y="2346"/>
                </a:lnTo>
                <a:lnTo>
                  <a:pt x="660" y="2358"/>
                </a:lnTo>
                <a:lnTo>
                  <a:pt x="672" y="2364"/>
                </a:lnTo>
                <a:lnTo>
                  <a:pt x="672" y="2382"/>
                </a:lnTo>
                <a:lnTo>
                  <a:pt x="672" y="2376"/>
                </a:lnTo>
                <a:lnTo>
                  <a:pt x="684" y="2364"/>
                </a:lnTo>
                <a:lnTo>
                  <a:pt x="696" y="2328"/>
                </a:lnTo>
                <a:lnTo>
                  <a:pt x="702" y="2310"/>
                </a:lnTo>
                <a:lnTo>
                  <a:pt x="708" y="2304"/>
                </a:lnTo>
                <a:lnTo>
                  <a:pt x="714" y="2310"/>
                </a:lnTo>
                <a:lnTo>
                  <a:pt x="720" y="2304"/>
                </a:lnTo>
                <a:lnTo>
                  <a:pt x="732" y="2316"/>
                </a:lnTo>
                <a:lnTo>
                  <a:pt x="738" y="2328"/>
                </a:lnTo>
                <a:lnTo>
                  <a:pt x="750" y="2334"/>
                </a:lnTo>
                <a:lnTo>
                  <a:pt x="750" y="2352"/>
                </a:lnTo>
                <a:lnTo>
                  <a:pt x="750" y="2358"/>
                </a:lnTo>
                <a:lnTo>
                  <a:pt x="732" y="2376"/>
                </a:lnTo>
                <a:lnTo>
                  <a:pt x="732" y="2382"/>
                </a:lnTo>
                <a:lnTo>
                  <a:pt x="738" y="2382"/>
                </a:lnTo>
                <a:lnTo>
                  <a:pt x="756" y="2364"/>
                </a:lnTo>
                <a:lnTo>
                  <a:pt x="762" y="2340"/>
                </a:lnTo>
                <a:lnTo>
                  <a:pt x="762" y="2328"/>
                </a:lnTo>
                <a:lnTo>
                  <a:pt x="738" y="2316"/>
                </a:lnTo>
                <a:lnTo>
                  <a:pt x="738" y="2310"/>
                </a:lnTo>
                <a:lnTo>
                  <a:pt x="762" y="2280"/>
                </a:lnTo>
                <a:lnTo>
                  <a:pt x="780" y="2268"/>
                </a:lnTo>
                <a:lnTo>
                  <a:pt x="786" y="2268"/>
                </a:lnTo>
                <a:lnTo>
                  <a:pt x="792" y="2268"/>
                </a:lnTo>
                <a:lnTo>
                  <a:pt x="798" y="2262"/>
                </a:lnTo>
                <a:lnTo>
                  <a:pt x="804" y="2262"/>
                </a:lnTo>
                <a:lnTo>
                  <a:pt x="810" y="2262"/>
                </a:lnTo>
                <a:lnTo>
                  <a:pt x="828" y="2274"/>
                </a:lnTo>
                <a:lnTo>
                  <a:pt x="840" y="2286"/>
                </a:lnTo>
                <a:lnTo>
                  <a:pt x="840" y="2292"/>
                </a:lnTo>
                <a:lnTo>
                  <a:pt x="840" y="2298"/>
                </a:lnTo>
                <a:lnTo>
                  <a:pt x="834" y="2322"/>
                </a:lnTo>
                <a:lnTo>
                  <a:pt x="846" y="2322"/>
                </a:lnTo>
                <a:lnTo>
                  <a:pt x="858" y="2316"/>
                </a:lnTo>
                <a:lnTo>
                  <a:pt x="864" y="2316"/>
                </a:lnTo>
                <a:lnTo>
                  <a:pt x="876" y="2316"/>
                </a:lnTo>
                <a:lnTo>
                  <a:pt x="882" y="2316"/>
                </a:lnTo>
                <a:lnTo>
                  <a:pt x="894" y="2310"/>
                </a:lnTo>
                <a:lnTo>
                  <a:pt x="900" y="2316"/>
                </a:lnTo>
                <a:lnTo>
                  <a:pt x="906" y="2328"/>
                </a:lnTo>
                <a:lnTo>
                  <a:pt x="924" y="2316"/>
                </a:lnTo>
                <a:lnTo>
                  <a:pt x="954" y="2316"/>
                </a:lnTo>
                <a:lnTo>
                  <a:pt x="960" y="2316"/>
                </a:lnTo>
                <a:lnTo>
                  <a:pt x="966" y="2310"/>
                </a:lnTo>
                <a:lnTo>
                  <a:pt x="918" y="2280"/>
                </a:lnTo>
                <a:lnTo>
                  <a:pt x="918" y="2274"/>
                </a:lnTo>
                <a:lnTo>
                  <a:pt x="924" y="2268"/>
                </a:lnTo>
                <a:lnTo>
                  <a:pt x="948" y="2274"/>
                </a:lnTo>
                <a:lnTo>
                  <a:pt x="948" y="2280"/>
                </a:lnTo>
                <a:lnTo>
                  <a:pt x="960" y="2280"/>
                </a:lnTo>
                <a:lnTo>
                  <a:pt x="978" y="2262"/>
                </a:lnTo>
                <a:lnTo>
                  <a:pt x="1008" y="2262"/>
                </a:lnTo>
                <a:lnTo>
                  <a:pt x="1026" y="2250"/>
                </a:lnTo>
                <a:lnTo>
                  <a:pt x="1032" y="2250"/>
                </a:lnTo>
                <a:lnTo>
                  <a:pt x="1038" y="2250"/>
                </a:lnTo>
                <a:lnTo>
                  <a:pt x="1044" y="2256"/>
                </a:lnTo>
                <a:lnTo>
                  <a:pt x="1044" y="2262"/>
                </a:lnTo>
                <a:lnTo>
                  <a:pt x="1032" y="2268"/>
                </a:lnTo>
                <a:lnTo>
                  <a:pt x="1032" y="2274"/>
                </a:lnTo>
                <a:lnTo>
                  <a:pt x="1050" y="2274"/>
                </a:lnTo>
                <a:lnTo>
                  <a:pt x="1050" y="2286"/>
                </a:lnTo>
                <a:lnTo>
                  <a:pt x="1056" y="2292"/>
                </a:lnTo>
                <a:lnTo>
                  <a:pt x="1044" y="2292"/>
                </a:lnTo>
                <a:lnTo>
                  <a:pt x="1032" y="2304"/>
                </a:lnTo>
                <a:lnTo>
                  <a:pt x="1044" y="2310"/>
                </a:lnTo>
                <a:lnTo>
                  <a:pt x="1032" y="2316"/>
                </a:lnTo>
                <a:lnTo>
                  <a:pt x="1026" y="2322"/>
                </a:lnTo>
                <a:lnTo>
                  <a:pt x="1014" y="2322"/>
                </a:lnTo>
                <a:lnTo>
                  <a:pt x="996" y="2328"/>
                </a:lnTo>
                <a:lnTo>
                  <a:pt x="990" y="2328"/>
                </a:lnTo>
                <a:lnTo>
                  <a:pt x="984" y="2328"/>
                </a:lnTo>
                <a:lnTo>
                  <a:pt x="990" y="2334"/>
                </a:lnTo>
                <a:lnTo>
                  <a:pt x="1002" y="2334"/>
                </a:lnTo>
                <a:lnTo>
                  <a:pt x="1008" y="2334"/>
                </a:lnTo>
                <a:lnTo>
                  <a:pt x="1020" y="2340"/>
                </a:lnTo>
                <a:lnTo>
                  <a:pt x="1032" y="2334"/>
                </a:lnTo>
                <a:lnTo>
                  <a:pt x="1032" y="2340"/>
                </a:lnTo>
                <a:lnTo>
                  <a:pt x="1026" y="2352"/>
                </a:lnTo>
                <a:lnTo>
                  <a:pt x="1020" y="2352"/>
                </a:lnTo>
                <a:lnTo>
                  <a:pt x="1026" y="2364"/>
                </a:lnTo>
                <a:lnTo>
                  <a:pt x="1020" y="2376"/>
                </a:lnTo>
                <a:lnTo>
                  <a:pt x="1020" y="2382"/>
                </a:lnTo>
                <a:lnTo>
                  <a:pt x="1020" y="2388"/>
                </a:lnTo>
                <a:lnTo>
                  <a:pt x="1026" y="2406"/>
                </a:lnTo>
                <a:lnTo>
                  <a:pt x="1038" y="2406"/>
                </a:lnTo>
                <a:lnTo>
                  <a:pt x="1050" y="2430"/>
                </a:lnTo>
                <a:lnTo>
                  <a:pt x="1050" y="2460"/>
                </a:lnTo>
                <a:lnTo>
                  <a:pt x="1056" y="2460"/>
                </a:lnTo>
                <a:lnTo>
                  <a:pt x="1062" y="2448"/>
                </a:lnTo>
                <a:lnTo>
                  <a:pt x="1056" y="2442"/>
                </a:lnTo>
                <a:lnTo>
                  <a:pt x="1056" y="2406"/>
                </a:lnTo>
                <a:lnTo>
                  <a:pt x="1056" y="2400"/>
                </a:lnTo>
                <a:lnTo>
                  <a:pt x="1056" y="2394"/>
                </a:lnTo>
                <a:lnTo>
                  <a:pt x="1068" y="2382"/>
                </a:lnTo>
                <a:lnTo>
                  <a:pt x="1074" y="2370"/>
                </a:lnTo>
                <a:lnTo>
                  <a:pt x="1086" y="2364"/>
                </a:lnTo>
                <a:lnTo>
                  <a:pt x="1092" y="2358"/>
                </a:lnTo>
                <a:lnTo>
                  <a:pt x="1104" y="2370"/>
                </a:lnTo>
                <a:lnTo>
                  <a:pt x="1110" y="2376"/>
                </a:lnTo>
                <a:lnTo>
                  <a:pt x="1116" y="2358"/>
                </a:lnTo>
                <a:lnTo>
                  <a:pt x="1146" y="2346"/>
                </a:lnTo>
                <a:lnTo>
                  <a:pt x="1158" y="2364"/>
                </a:lnTo>
                <a:lnTo>
                  <a:pt x="1170" y="2364"/>
                </a:lnTo>
                <a:lnTo>
                  <a:pt x="1194" y="2388"/>
                </a:lnTo>
                <a:lnTo>
                  <a:pt x="1218" y="2388"/>
                </a:lnTo>
                <a:lnTo>
                  <a:pt x="1236" y="2388"/>
                </a:lnTo>
                <a:lnTo>
                  <a:pt x="1260" y="2400"/>
                </a:lnTo>
                <a:lnTo>
                  <a:pt x="1266" y="2394"/>
                </a:lnTo>
                <a:lnTo>
                  <a:pt x="1272" y="2394"/>
                </a:lnTo>
                <a:lnTo>
                  <a:pt x="1290" y="2400"/>
                </a:lnTo>
                <a:lnTo>
                  <a:pt x="1290" y="2406"/>
                </a:lnTo>
                <a:lnTo>
                  <a:pt x="1302" y="2418"/>
                </a:lnTo>
                <a:lnTo>
                  <a:pt x="1302" y="2430"/>
                </a:lnTo>
                <a:lnTo>
                  <a:pt x="1320" y="2436"/>
                </a:lnTo>
                <a:lnTo>
                  <a:pt x="1344" y="2466"/>
                </a:lnTo>
                <a:lnTo>
                  <a:pt x="1344" y="2478"/>
                </a:lnTo>
                <a:lnTo>
                  <a:pt x="1362" y="2490"/>
                </a:lnTo>
                <a:lnTo>
                  <a:pt x="1362" y="2496"/>
                </a:lnTo>
                <a:lnTo>
                  <a:pt x="1368" y="2496"/>
                </a:lnTo>
                <a:lnTo>
                  <a:pt x="1380" y="2496"/>
                </a:lnTo>
                <a:lnTo>
                  <a:pt x="1386" y="2514"/>
                </a:lnTo>
                <a:lnTo>
                  <a:pt x="1392" y="2514"/>
                </a:lnTo>
                <a:lnTo>
                  <a:pt x="1410" y="2502"/>
                </a:lnTo>
                <a:lnTo>
                  <a:pt x="1416" y="2514"/>
                </a:lnTo>
                <a:lnTo>
                  <a:pt x="1422" y="2514"/>
                </a:lnTo>
                <a:lnTo>
                  <a:pt x="1428" y="2514"/>
                </a:lnTo>
                <a:lnTo>
                  <a:pt x="1464" y="2532"/>
                </a:lnTo>
                <a:lnTo>
                  <a:pt x="1476" y="2550"/>
                </a:lnTo>
                <a:lnTo>
                  <a:pt x="1482" y="2556"/>
                </a:lnTo>
                <a:lnTo>
                  <a:pt x="1506" y="2568"/>
                </a:lnTo>
                <a:lnTo>
                  <a:pt x="1518" y="2580"/>
                </a:lnTo>
                <a:lnTo>
                  <a:pt x="1530" y="2586"/>
                </a:lnTo>
                <a:lnTo>
                  <a:pt x="1548" y="2592"/>
                </a:lnTo>
                <a:lnTo>
                  <a:pt x="1602" y="2610"/>
                </a:lnTo>
                <a:lnTo>
                  <a:pt x="1608" y="2622"/>
                </a:lnTo>
                <a:lnTo>
                  <a:pt x="1614" y="2622"/>
                </a:lnTo>
                <a:lnTo>
                  <a:pt x="1626" y="2616"/>
                </a:lnTo>
                <a:lnTo>
                  <a:pt x="1626" y="2610"/>
                </a:lnTo>
                <a:lnTo>
                  <a:pt x="1638" y="2604"/>
                </a:lnTo>
                <a:lnTo>
                  <a:pt x="1644" y="2574"/>
                </a:lnTo>
                <a:lnTo>
                  <a:pt x="1632" y="2556"/>
                </a:lnTo>
                <a:lnTo>
                  <a:pt x="1626" y="2550"/>
                </a:lnTo>
                <a:lnTo>
                  <a:pt x="1632" y="2538"/>
                </a:lnTo>
                <a:lnTo>
                  <a:pt x="1644" y="2532"/>
                </a:lnTo>
                <a:lnTo>
                  <a:pt x="1674" y="2520"/>
                </a:lnTo>
                <a:lnTo>
                  <a:pt x="1686" y="2514"/>
                </a:lnTo>
                <a:lnTo>
                  <a:pt x="1692" y="2490"/>
                </a:lnTo>
                <a:lnTo>
                  <a:pt x="1704" y="2490"/>
                </a:lnTo>
                <a:lnTo>
                  <a:pt x="1728" y="2472"/>
                </a:lnTo>
                <a:lnTo>
                  <a:pt x="1746" y="2448"/>
                </a:lnTo>
                <a:lnTo>
                  <a:pt x="1758" y="2442"/>
                </a:lnTo>
                <a:lnTo>
                  <a:pt x="1776" y="2418"/>
                </a:lnTo>
                <a:lnTo>
                  <a:pt x="1776" y="2406"/>
                </a:lnTo>
                <a:lnTo>
                  <a:pt x="1788" y="2376"/>
                </a:lnTo>
                <a:lnTo>
                  <a:pt x="1782" y="2358"/>
                </a:lnTo>
                <a:lnTo>
                  <a:pt x="1770" y="2346"/>
                </a:lnTo>
                <a:lnTo>
                  <a:pt x="1758" y="2346"/>
                </a:lnTo>
                <a:lnTo>
                  <a:pt x="1740" y="2334"/>
                </a:lnTo>
                <a:lnTo>
                  <a:pt x="1728" y="2340"/>
                </a:lnTo>
                <a:lnTo>
                  <a:pt x="1722" y="2352"/>
                </a:lnTo>
                <a:lnTo>
                  <a:pt x="1710" y="2358"/>
                </a:lnTo>
                <a:lnTo>
                  <a:pt x="1704" y="2376"/>
                </a:lnTo>
                <a:lnTo>
                  <a:pt x="1698" y="2388"/>
                </a:lnTo>
                <a:lnTo>
                  <a:pt x="1692" y="2382"/>
                </a:lnTo>
                <a:lnTo>
                  <a:pt x="1674" y="2394"/>
                </a:lnTo>
                <a:lnTo>
                  <a:pt x="1650" y="2400"/>
                </a:lnTo>
                <a:lnTo>
                  <a:pt x="1608" y="2418"/>
                </a:lnTo>
                <a:lnTo>
                  <a:pt x="1548" y="2424"/>
                </a:lnTo>
                <a:lnTo>
                  <a:pt x="1542" y="2424"/>
                </a:lnTo>
                <a:lnTo>
                  <a:pt x="1536" y="2424"/>
                </a:lnTo>
                <a:lnTo>
                  <a:pt x="1494" y="2406"/>
                </a:lnTo>
                <a:lnTo>
                  <a:pt x="1488" y="2406"/>
                </a:lnTo>
                <a:lnTo>
                  <a:pt x="1482" y="2400"/>
                </a:lnTo>
                <a:lnTo>
                  <a:pt x="1470" y="2394"/>
                </a:lnTo>
                <a:lnTo>
                  <a:pt x="1464" y="2388"/>
                </a:lnTo>
                <a:lnTo>
                  <a:pt x="1464" y="2382"/>
                </a:lnTo>
                <a:lnTo>
                  <a:pt x="1464" y="2370"/>
                </a:lnTo>
                <a:lnTo>
                  <a:pt x="1446" y="2358"/>
                </a:lnTo>
                <a:lnTo>
                  <a:pt x="1434" y="2358"/>
                </a:lnTo>
                <a:lnTo>
                  <a:pt x="1428" y="2346"/>
                </a:lnTo>
                <a:lnTo>
                  <a:pt x="1410" y="2340"/>
                </a:lnTo>
                <a:lnTo>
                  <a:pt x="1410" y="2334"/>
                </a:lnTo>
                <a:lnTo>
                  <a:pt x="1392" y="2334"/>
                </a:lnTo>
                <a:lnTo>
                  <a:pt x="1386" y="2322"/>
                </a:lnTo>
                <a:lnTo>
                  <a:pt x="1380" y="2310"/>
                </a:lnTo>
                <a:lnTo>
                  <a:pt x="1368" y="2292"/>
                </a:lnTo>
                <a:lnTo>
                  <a:pt x="1362" y="2286"/>
                </a:lnTo>
                <a:lnTo>
                  <a:pt x="1356" y="2274"/>
                </a:lnTo>
                <a:lnTo>
                  <a:pt x="1338" y="2250"/>
                </a:lnTo>
                <a:lnTo>
                  <a:pt x="1338" y="2232"/>
                </a:lnTo>
                <a:lnTo>
                  <a:pt x="1332" y="2208"/>
                </a:lnTo>
                <a:lnTo>
                  <a:pt x="1326" y="2208"/>
                </a:lnTo>
                <a:lnTo>
                  <a:pt x="1314" y="2220"/>
                </a:lnTo>
                <a:lnTo>
                  <a:pt x="1302" y="2214"/>
                </a:lnTo>
                <a:lnTo>
                  <a:pt x="1290" y="2208"/>
                </a:lnTo>
                <a:lnTo>
                  <a:pt x="1278" y="2220"/>
                </a:lnTo>
                <a:lnTo>
                  <a:pt x="1278" y="2208"/>
                </a:lnTo>
                <a:lnTo>
                  <a:pt x="1272" y="2208"/>
                </a:lnTo>
                <a:lnTo>
                  <a:pt x="1266" y="2196"/>
                </a:lnTo>
                <a:lnTo>
                  <a:pt x="1254" y="2190"/>
                </a:lnTo>
                <a:lnTo>
                  <a:pt x="1248" y="2184"/>
                </a:lnTo>
                <a:lnTo>
                  <a:pt x="1224" y="2178"/>
                </a:lnTo>
                <a:lnTo>
                  <a:pt x="1218" y="2160"/>
                </a:lnTo>
                <a:lnTo>
                  <a:pt x="1224" y="2154"/>
                </a:lnTo>
                <a:lnTo>
                  <a:pt x="1230" y="2148"/>
                </a:lnTo>
                <a:lnTo>
                  <a:pt x="1236" y="2148"/>
                </a:lnTo>
                <a:lnTo>
                  <a:pt x="1242" y="2154"/>
                </a:lnTo>
                <a:lnTo>
                  <a:pt x="1248" y="2166"/>
                </a:lnTo>
                <a:lnTo>
                  <a:pt x="1260" y="2172"/>
                </a:lnTo>
                <a:lnTo>
                  <a:pt x="1266" y="2172"/>
                </a:lnTo>
                <a:lnTo>
                  <a:pt x="1290" y="2160"/>
                </a:lnTo>
                <a:lnTo>
                  <a:pt x="1296" y="2172"/>
                </a:lnTo>
                <a:lnTo>
                  <a:pt x="1308" y="2166"/>
                </a:lnTo>
                <a:lnTo>
                  <a:pt x="1302" y="2160"/>
                </a:lnTo>
                <a:lnTo>
                  <a:pt x="1272" y="2130"/>
                </a:lnTo>
                <a:lnTo>
                  <a:pt x="1266" y="2130"/>
                </a:lnTo>
                <a:lnTo>
                  <a:pt x="1248" y="2136"/>
                </a:lnTo>
                <a:lnTo>
                  <a:pt x="1242" y="2130"/>
                </a:lnTo>
                <a:lnTo>
                  <a:pt x="1260" y="2124"/>
                </a:lnTo>
                <a:lnTo>
                  <a:pt x="1278" y="2112"/>
                </a:lnTo>
                <a:lnTo>
                  <a:pt x="1302" y="2082"/>
                </a:lnTo>
                <a:lnTo>
                  <a:pt x="1320" y="2082"/>
                </a:lnTo>
                <a:lnTo>
                  <a:pt x="1332" y="2070"/>
                </a:lnTo>
                <a:lnTo>
                  <a:pt x="1338" y="2070"/>
                </a:lnTo>
                <a:lnTo>
                  <a:pt x="1344" y="2076"/>
                </a:lnTo>
                <a:lnTo>
                  <a:pt x="1356" y="2076"/>
                </a:lnTo>
                <a:lnTo>
                  <a:pt x="1362" y="2076"/>
                </a:lnTo>
                <a:lnTo>
                  <a:pt x="1380" y="2076"/>
                </a:lnTo>
                <a:lnTo>
                  <a:pt x="1386" y="2064"/>
                </a:lnTo>
                <a:lnTo>
                  <a:pt x="1386" y="2052"/>
                </a:lnTo>
                <a:lnTo>
                  <a:pt x="1398" y="2052"/>
                </a:lnTo>
                <a:lnTo>
                  <a:pt x="1416" y="2040"/>
                </a:lnTo>
                <a:lnTo>
                  <a:pt x="1422" y="2046"/>
                </a:lnTo>
                <a:lnTo>
                  <a:pt x="1416" y="2052"/>
                </a:lnTo>
                <a:lnTo>
                  <a:pt x="1422" y="2058"/>
                </a:lnTo>
                <a:lnTo>
                  <a:pt x="1434" y="2052"/>
                </a:lnTo>
                <a:lnTo>
                  <a:pt x="1446" y="2040"/>
                </a:lnTo>
                <a:lnTo>
                  <a:pt x="1446" y="2028"/>
                </a:lnTo>
                <a:lnTo>
                  <a:pt x="1452" y="2022"/>
                </a:lnTo>
                <a:lnTo>
                  <a:pt x="1464" y="2022"/>
                </a:lnTo>
                <a:lnTo>
                  <a:pt x="1482" y="2028"/>
                </a:lnTo>
                <a:lnTo>
                  <a:pt x="1518" y="2028"/>
                </a:lnTo>
                <a:lnTo>
                  <a:pt x="1524" y="2028"/>
                </a:lnTo>
                <a:lnTo>
                  <a:pt x="1536" y="2034"/>
                </a:lnTo>
                <a:lnTo>
                  <a:pt x="1542" y="2034"/>
                </a:lnTo>
                <a:lnTo>
                  <a:pt x="1584" y="2034"/>
                </a:lnTo>
                <a:lnTo>
                  <a:pt x="1614" y="2034"/>
                </a:lnTo>
                <a:lnTo>
                  <a:pt x="1644" y="2016"/>
                </a:lnTo>
                <a:lnTo>
                  <a:pt x="1662" y="2016"/>
                </a:lnTo>
                <a:lnTo>
                  <a:pt x="1704" y="2004"/>
                </a:lnTo>
                <a:lnTo>
                  <a:pt x="1716" y="1998"/>
                </a:lnTo>
                <a:lnTo>
                  <a:pt x="1722" y="1998"/>
                </a:lnTo>
                <a:lnTo>
                  <a:pt x="1740" y="1992"/>
                </a:lnTo>
                <a:lnTo>
                  <a:pt x="1740" y="1998"/>
                </a:lnTo>
                <a:lnTo>
                  <a:pt x="1758" y="2004"/>
                </a:lnTo>
                <a:lnTo>
                  <a:pt x="1764" y="1998"/>
                </a:lnTo>
                <a:lnTo>
                  <a:pt x="1782" y="1986"/>
                </a:lnTo>
                <a:lnTo>
                  <a:pt x="1782" y="1980"/>
                </a:lnTo>
                <a:lnTo>
                  <a:pt x="1782" y="1974"/>
                </a:lnTo>
                <a:lnTo>
                  <a:pt x="1788" y="1980"/>
                </a:lnTo>
                <a:lnTo>
                  <a:pt x="1788" y="2016"/>
                </a:lnTo>
                <a:lnTo>
                  <a:pt x="1800" y="2010"/>
                </a:lnTo>
                <a:lnTo>
                  <a:pt x="1794" y="1980"/>
                </a:lnTo>
                <a:lnTo>
                  <a:pt x="1818" y="1980"/>
                </a:lnTo>
                <a:lnTo>
                  <a:pt x="1830" y="1968"/>
                </a:lnTo>
                <a:lnTo>
                  <a:pt x="1848" y="1980"/>
                </a:lnTo>
                <a:lnTo>
                  <a:pt x="1920" y="1998"/>
                </a:lnTo>
                <a:lnTo>
                  <a:pt x="1920" y="2004"/>
                </a:lnTo>
                <a:lnTo>
                  <a:pt x="1926" y="2004"/>
                </a:lnTo>
                <a:lnTo>
                  <a:pt x="1956" y="1998"/>
                </a:lnTo>
                <a:lnTo>
                  <a:pt x="1986" y="1986"/>
                </a:lnTo>
                <a:lnTo>
                  <a:pt x="2004" y="1980"/>
                </a:lnTo>
                <a:lnTo>
                  <a:pt x="2004" y="1974"/>
                </a:lnTo>
                <a:lnTo>
                  <a:pt x="1992" y="1974"/>
                </a:lnTo>
                <a:lnTo>
                  <a:pt x="1986" y="1974"/>
                </a:lnTo>
                <a:lnTo>
                  <a:pt x="1980" y="1968"/>
                </a:lnTo>
                <a:lnTo>
                  <a:pt x="1950" y="1974"/>
                </a:lnTo>
                <a:lnTo>
                  <a:pt x="1938" y="1974"/>
                </a:lnTo>
                <a:lnTo>
                  <a:pt x="1926" y="1974"/>
                </a:lnTo>
                <a:lnTo>
                  <a:pt x="1914" y="1968"/>
                </a:lnTo>
                <a:lnTo>
                  <a:pt x="1908" y="1950"/>
                </a:lnTo>
                <a:lnTo>
                  <a:pt x="1902" y="1944"/>
                </a:lnTo>
                <a:lnTo>
                  <a:pt x="1890" y="1932"/>
                </a:lnTo>
                <a:lnTo>
                  <a:pt x="1878" y="1926"/>
                </a:lnTo>
                <a:lnTo>
                  <a:pt x="1866" y="1920"/>
                </a:lnTo>
                <a:lnTo>
                  <a:pt x="1842" y="1920"/>
                </a:lnTo>
                <a:lnTo>
                  <a:pt x="1830" y="1914"/>
                </a:lnTo>
                <a:lnTo>
                  <a:pt x="1818" y="1920"/>
                </a:lnTo>
                <a:lnTo>
                  <a:pt x="1812" y="1914"/>
                </a:lnTo>
                <a:lnTo>
                  <a:pt x="1854" y="1896"/>
                </a:lnTo>
                <a:lnTo>
                  <a:pt x="1854" y="1890"/>
                </a:lnTo>
                <a:lnTo>
                  <a:pt x="1848" y="1872"/>
                </a:lnTo>
                <a:lnTo>
                  <a:pt x="1848" y="1824"/>
                </a:lnTo>
                <a:lnTo>
                  <a:pt x="1854" y="1800"/>
                </a:lnTo>
                <a:lnTo>
                  <a:pt x="1848" y="1800"/>
                </a:lnTo>
                <a:lnTo>
                  <a:pt x="1836" y="1806"/>
                </a:lnTo>
                <a:lnTo>
                  <a:pt x="1818" y="1794"/>
                </a:lnTo>
                <a:lnTo>
                  <a:pt x="1818" y="1818"/>
                </a:lnTo>
                <a:lnTo>
                  <a:pt x="1806" y="1830"/>
                </a:lnTo>
                <a:lnTo>
                  <a:pt x="1794" y="1848"/>
                </a:lnTo>
                <a:lnTo>
                  <a:pt x="1782" y="1836"/>
                </a:lnTo>
                <a:lnTo>
                  <a:pt x="1782" y="1824"/>
                </a:lnTo>
                <a:lnTo>
                  <a:pt x="1794" y="1812"/>
                </a:lnTo>
                <a:lnTo>
                  <a:pt x="1788" y="1800"/>
                </a:lnTo>
                <a:lnTo>
                  <a:pt x="1788" y="1770"/>
                </a:lnTo>
                <a:lnTo>
                  <a:pt x="1794" y="1740"/>
                </a:lnTo>
                <a:lnTo>
                  <a:pt x="1788" y="1734"/>
                </a:lnTo>
                <a:lnTo>
                  <a:pt x="1782" y="1734"/>
                </a:lnTo>
                <a:lnTo>
                  <a:pt x="1776" y="1752"/>
                </a:lnTo>
                <a:lnTo>
                  <a:pt x="1776" y="1758"/>
                </a:lnTo>
                <a:lnTo>
                  <a:pt x="1758" y="1794"/>
                </a:lnTo>
                <a:lnTo>
                  <a:pt x="1746" y="1794"/>
                </a:lnTo>
                <a:lnTo>
                  <a:pt x="1734" y="1812"/>
                </a:lnTo>
                <a:lnTo>
                  <a:pt x="1710" y="1824"/>
                </a:lnTo>
                <a:lnTo>
                  <a:pt x="1680" y="1842"/>
                </a:lnTo>
                <a:lnTo>
                  <a:pt x="1686" y="1842"/>
                </a:lnTo>
                <a:lnTo>
                  <a:pt x="1680" y="1854"/>
                </a:lnTo>
                <a:lnTo>
                  <a:pt x="1680" y="1848"/>
                </a:lnTo>
                <a:lnTo>
                  <a:pt x="1650" y="1860"/>
                </a:lnTo>
                <a:lnTo>
                  <a:pt x="1644" y="1860"/>
                </a:lnTo>
                <a:lnTo>
                  <a:pt x="1644" y="1854"/>
                </a:lnTo>
                <a:lnTo>
                  <a:pt x="1632" y="1854"/>
                </a:lnTo>
                <a:lnTo>
                  <a:pt x="1632" y="1842"/>
                </a:lnTo>
                <a:lnTo>
                  <a:pt x="1632" y="1836"/>
                </a:lnTo>
                <a:lnTo>
                  <a:pt x="1620" y="1830"/>
                </a:lnTo>
                <a:lnTo>
                  <a:pt x="1620" y="1824"/>
                </a:lnTo>
                <a:lnTo>
                  <a:pt x="1608" y="1824"/>
                </a:lnTo>
                <a:lnTo>
                  <a:pt x="1614" y="1806"/>
                </a:lnTo>
                <a:lnTo>
                  <a:pt x="1602" y="1788"/>
                </a:lnTo>
                <a:lnTo>
                  <a:pt x="1596" y="1782"/>
                </a:lnTo>
                <a:lnTo>
                  <a:pt x="1602" y="1770"/>
                </a:lnTo>
                <a:lnTo>
                  <a:pt x="1572" y="1740"/>
                </a:lnTo>
                <a:lnTo>
                  <a:pt x="1566" y="1734"/>
                </a:lnTo>
                <a:lnTo>
                  <a:pt x="1572" y="1716"/>
                </a:lnTo>
                <a:lnTo>
                  <a:pt x="1572" y="1710"/>
                </a:lnTo>
                <a:lnTo>
                  <a:pt x="1602" y="1692"/>
                </a:lnTo>
                <a:lnTo>
                  <a:pt x="1626" y="1692"/>
                </a:lnTo>
                <a:lnTo>
                  <a:pt x="1644" y="1698"/>
                </a:lnTo>
                <a:lnTo>
                  <a:pt x="1650" y="1698"/>
                </a:lnTo>
                <a:lnTo>
                  <a:pt x="1662" y="1704"/>
                </a:lnTo>
                <a:lnTo>
                  <a:pt x="1680" y="1704"/>
                </a:lnTo>
                <a:lnTo>
                  <a:pt x="1698" y="1710"/>
                </a:lnTo>
                <a:lnTo>
                  <a:pt x="1704" y="1716"/>
                </a:lnTo>
                <a:lnTo>
                  <a:pt x="1710" y="1710"/>
                </a:lnTo>
                <a:lnTo>
                  <a:pt x="1728" y="1704"/>
                </a:lnTo>
                <a:lnTo>
                  <a:pt x="1734" y="1698"/>
                </a:lnTo>
                <a:lnTo>
                  <a:pt x="1746" y="1698"/>
                </a:lnTo>
                <a:lnTo>
                  <a:pt x="1764" y="1692"/>
                </a:lnTo>
                <a:lnTo>
                  <a:pt x="1764" y="1686"/>
                </a:lnTo>
                <a:lnTo>
                  <a:pt x="1782" y="1668"/>
                </a:lnTo>
                <a:lnTo>
                  <a:pt x="1788" y="1656"/>
                </a:lnTo>
                <a:lnTo>
                  <a:pt x="1800" y="1644"/>
                </a:lnTo>
                <a:lnTo>
                  <a:pt x="1824" y="1638"/>
                </a:lnTo>
                <a:lnTo>
                  <a:pt x="1842" y="1626"/>
                </a:lnTo>
                <a:lnTo>
                  <a:pt x="1836" y="1620"/>
                </a:lnTo>
                <a:lnTo>
                  <a:pt x="1812" y="1632"/>
                </a:lnTo>
                <a:lnTo>
                  <a:pt x="1800" y="1632"/>
                </a:lnTo>
                <a:lnTo>
                  <a:pt x="1782" y="1644"/>
                </a:lnTo>
                <a:lnTo>
                  <a:pt x="1764" y="1656"/>
                </a:lnTo>
                <a:lnTo>
                  <a:pt x="1740" y="1680"/>
                </a:lnTo>
                <a:lnTo>
                  <a:pt x="1722" y="1686"/>
                </a:lnTo>
                <a:lnTo>
                  <a:pt x="1680" y="1692"/>
                </a:lnTo>
                <a:lnTo>
                  <a:pt x="1644" y="1674"/>
                </a:lnTo>
                <a:lnTo>
                  <a:pt x="1638" y="1662"/>
                </a:lnTo>
                <a:lnTo>
                  <a:pt x="1638" y="1650"/>
                </a:lnTo>
                <a:lnTo>
                  <a:pt x="1674" y="1644"/>
                </a:lnTo>
                <a:lnTo>
                  <a:pt x="1686" y="1638"/>
                </a:lnTo>
                <a:lnTo>
                  <a:pt x="1692" y="1638"/>
                </a:lnTo>
                <a:lnTo>
                  <a:pt x="1698" y="1614"/>
                </a:lnTo>
                <a:lnTo>
                  <a:pt x="1692" y="1614"/>
                </a:lnTo>
                <a:lnTo>
                  <a:pt x="1674" y="1632"/>
                </a:lnTo>
                <a:lnTo>
                  <a:pt x="1650" y="1632"/>
                </a:lnTo>
                <a:lnTo>
                  <a:pt x="1632" y="1644"/>
                </a:lnTo>
                <a:lnTo>
                  <a:pt x="1626" y="1644"/>
                </a:lnTo>
                <a:lnTo>
                  <a:pt x="1614" y="1650"/>
                </a:lnTo>
                <a:lnTo>
                  <a:pt x="1608" y="1644"/>
                </a:lnTo>
                <a:lnTo>
                  <a:pt x="1614" y="1620"/>
                </a:lnTo>
                <a:lnTo>
                  <a:pt x="1602" y="1590"/>
                </a:lnTo>
                <a:lnTo>
                  <a:pt x="1602" y="1596"/>
                </a:lnTo>
                <a:lnTo>
                  <a:pt x="1602" y="1614"/>
                </a:lnTo>
                <a:lnTo>
                  <a:pt x="1596" y="1626"/>
                </a:lnTo>
                <a:lnTo>
                  <a:pt x="1596" y="1650"/>
                </a:lnTo>
                <a:lnTo>
                  <a:pt x="1584" y="1650"/>
                </a:lnTo>
                <a:lnTo>
                  <a:pt x="1578" y="1650"/>
                </a:lnTo>
                <a:lnTo>
                  <a:pt x="1554" y="1656"/>
                </a:lnTo>
                <a:lnTo>
                  <a:pt x="1536" y="1656"/>
                </a:lnTo>
                <a:lnTo>
                  <a:pt x="1530" y="1650"/>
                </a:lnTo>
                <a:lnTo>
                  <a:pt x="1524" y="1644"/>
                </a:lnTo>
                <a:lnTo>
                  <a:pt x="1530" y="1626"/>
                </a:lnTo>
                <a:lnTo>
                  <a:pt x="1542" y="1614"/>
                </a:lnTo>
                <a:lnTo>
                  <a:pt x="1554" y="1572"/>
                </a:lnTo>
                <a:lnTo>
                  <a:pt x="1560" y="1560"/>
                </a:lnTo>
                <a:lnTo>
                  <a:pt x="1566" y="1536"/>
                </a:lnTo>
                <a:lnTo>
                  <a:pt x="1566" y="1506"/>
                </a:lnTo>
                <a:lnTo>
                  <a:pt x="1578" y="1476"/>
                </a:lnTo>
                <a:lnTo>
                  <a:pt x="1584" y="1470"/>
                </a:lnTo>
                <a:lnTo>
                  <a:pt x="1584" y="1458"/>
                </a:lnTo>
                <a:lnTo>
                  <a:pt x="1578" y="1440"/>
                </a:lnTo>
                <a:lnTo>
                  <a:pt x="1572" y="1446"/>
                </a:lnTo>
                <a:lnTo>
                  <a:pt x="1566" y="1476"/>
                </a:lnTo>
                <a:lnTo>
                  <a:pt x="1554" y="1494"/>
                </a:lnTo>
                <a:lnTo>
                  <a:pt x="1548" y="1500"/>
                </a:lnTo>
                <a:lnTo>
                  <a:pt x="1548" y="1536"/>
                </a:lnTo>
                <a:lnTo>
                  <a:pt x="1512" y="1572"/>
                </a:lnTo>
                <a:lnTo>
                  <a:pt x="1488" y="1584"/>
                </a:lnTo>
                <a:lnTo>
                  <a:pt x="1476" y="1578"/>
                </a:lnTo>
                <a:lnTo>
                  <a:pt x="1476" y="1566"/>
                </a:lnTo>
                <a:lnTo>
                  <a:pt x="1488" y="1542"/>
                </a:lnTo>
                <a:lnTo>
                  <a:pt x="1512" y="1494"/>
                </a:lnTo>
                <a:lnTo>
                  <a:pt x="1512" y="1470"/>
                </a:lnTo>
                <a:lnTo>
                  <a:pt x="1518" y="1452"/>
                </a:lnTo>
                <a:lnTo>
                  <a:pt x="1524" y="1434"/>
                </a:lnTo>
                <a:lnTo>
                  <a:pt x="1512" y="1446"/>
                </a:lnTo>
                <a:lnTo>
                  <a:pt x="1506" y="1476"/>
                </a:lnTo>
                <a:lnTo>
                  <a:pt x="1494" y="1506"/>
                </a:lnTo>
                <a:lnTo>
                  <a:pt x="1464" y="1542"/>
                </a:lnTo>
                <a:lnTo>
                  <a:pt x="1452" y="1566"/>
                </a:lnTo>
                <a:lnTo>
                  <a:pt x="1440" y="1578"/>
                </a:lnTo>
                <a:lnTo>
                  <a:pt x="1434" y="1578"/>
                </a:lnTo>
                <a:lnTo>
                  <a:pt x="1416" y="1572"/>
                </a:lnTo>
                <a:lnTo>
                  <a:pt x="1416" y="1554"/>
                </a:lnTo>
                <a:lnTo>
                  <a:pt x="1422" y="1524"/>
                </a:lnTo>
                <a:lnTo>
                  <a:pt x="1416" y="1506"/>
                </a:lnTo>
                <a:lnTo>
                  <a:pt x="1422" y="1500"/>
                </a:lnTo>
                <a:lnTo>
                  <a:pt x="1422" y="1494"/>
                </a:lnTo>
                <a:lnTo>
                  <a:pt x="1428" y="1470"/>
                </a:lnTo>
                <a:lnTo>
                  <a:pt x="1434" y="1452"/>
                </a:lnTo>
                <a:lnTo>
                  <a:pt x="1464" y="1428"/>
                </a:lnTo>
                <a:lnTo>
                  <a:pt x="1476" y="1416"/>
                </a:lnTo>
                <a:lnTo>
                  <a:pt x="1488" y="1404"/>
                </a:lnTo>
                <a:lnTo>
                  <a:pt x="1488" y="1398"/>
                </a:lnTo>
                <a:lnTo>
                  <a:pt x="1482" y="1392"/>
                </a:lnTo>
                <a:lnTo>
                  <a:pt x="1458" y="1410"/>
                </a:lnTo>
                <a:lnTo>
                  <a:pt x="1446" y="1398"/>
                </a:lnTo>
                <a:lnTo>
                  <a:pt x="1440" y="1374"/>
                </a:lnTo>
                <a:lnTo>
                  <a:pt x="1434" y="1374"/>
                </a:lnTo>
                <a:lnTo>
                  <a:pt x="1410" y="1452"/>
                </a:lnTo>
                <a:lnTo>
                  <a:pt x="1404" y="1470"/>
                </a:lnTo>
                <a:lnTo>
                  <a:pt x="1392" y="1488"/>
                </a:lnTo>
                <a:lnTo>
                  <a:pt x="1392" y="1500"/>
                </a:lnTo>
                <a:lnTo>
                  <a:pt x="1386" y="1524"/>
                </a:lnTo>
                <a:lnTo>
                  <a:pt x="1380" y="1542"/>
                </a:lnTo>
                <a:lnTo>
                  <a:pt x="1374" y="1548"/>
                </a:lnTo>
                <a:lnTo>
                  <a:pt x="1374" y="1554"/>
                </a:lnTo>
                <a:lnTo>
                  <a:pt x="1374" y="1560"/>
                </a:lnTo>
                <a:lnTo>
                  <a:pt x="1368" y="1578"/>
                </a:lnTo>
                <a:lnTo>
                  <a:pt x="1368" y="1590"/>
                </a:lnTo>
                <a:lnTo>
                  <a:pt x="1350" y="1566"/>
                </a:lnTo>
                <a:lnTo>
                  <a:pt x="1338" y="1566"/>
                </a:lnTo>
                <a:lnTo>
                  <a:pt x="1332" y="1554"/>
                </a:lnTo>
                <a:lnTo>
                  <a:pt x="1350" y="1548"/>
                </a:lnTo>
                <a:lnTo>
                  <a:pt x="1338" y="1512"/>
                </a:lnTo>
                <a:lnTo>
                  <a:pt x="1326" y="1506"/>
                </a:lnTo>
                <a:lnTo>
                  <a:pt x="1308" y="1506"/>
                </a:lnTo>
                <a:lnTo>
                  <a:pt x="1302" y="1494"/>
                </a:lnTo>
                <a:lnTo>
                  <a:pt x="1308" y="1494"/>
                </a:lnTo>
                <a:lnTo>
                  <a:pt x="1320" y="1494"/>
                </a:lnTo>
                <a:lnTo>
                  <a:pt x="1314" y="1488"/>
                </a:lnTo>
                <a:lnTo>
                  <a:pt x="1302" y="1476"/>
                </a:lnTo>
                <a:lnTo>
                  <a:pt x="1302" y="1470"/>
                </a:lnTo>
                <a:lnTo>
                  <a:pt x="1314" y="1470"/>
                </a:lnTo>
                <a:lnTo>
                  <a:pt x="1320" y="1464"/>
                </a:lnTo>
                <a:lnTo>
                  <a:pt x="1332" y="1458"/>
                </a:lnTo>
                <a:lnTo>
                  <a:pt x="1344" y="1446"/>
                </a:lnTo>
                <a:lnTo>
                  <a:pt x="1368" y="1434"/>
                </a:lnTo>
                <a:lnTo>
                  <a:pt x="1374" y="1434"/>
                </a:lnTo>
                <a:lnTo>
                  <a:pt x="1380" y="1428"/>
                </a:lnTo>
                <a:lnTo>
                  <a:pt x="1392" y="1428"/>
                </a:lnTo>
                <a:lnTo>
                  <a:pt x="1392" y="1422"/>
                </a:lnTo>
                <a:lnTo>
                  <a:pt x="1398" y="1410"/>
                </a:lnTo>
                <a:lnTo>
                  <a:pt x="1392" y="1392"/>
                </a:lnTo>
                <a:lnTo>
                  <a:pt x="1380" y="1380"/>
                </a:lnTo>
                <a:lnTo>
                  <a:pt x="1380" y="1356"/>
                </a:lnTo>
                <a:lnTo>
                  <a:pt x="1374" y="1362"/>
                </a:lnTo>
                <a:lnTo>
                  <a:pt x="1362" y="1398"/>
                </a:lnTo>
                <a:lnTo>
                  <a:pt x="1344" y="1416"/>
                </a:lnTo>
                <a:lnTo>
                  <a:pt x="1332" y="1416"/>
                </a:lnTo>
                <a:lnTo>
                  <a:pt x="1308" y="1422"/>
                </a:lnTo>
                <a:lnTo>
                  <a:pt x="1290" y="1428"/>
                </a:lnTo>
                <a:lnTo>
                  <a:pt x="1290" y="1416"/>
                </a:lnTo>
                <a:lnTo>
                  <a:pt x="1302" y="1386"/>
                </a:lnTo>
                <a:lnTo>
                  <a:pt x="1302" y="1380"/>
                </a:lnTo>
                <a:lnTo>
                  <a:pt x="1308" y="1362"/>
                </a:lnTo>
                <a:lnTo>
                  <a:pt x="1308" y="1344"/>
                </a:lnTo>
                <a:lnTo>
                  <a:pt x="1302" y="1344"/>
                </a:lnTo>
                <a:lnTo>
                  <a:pt x="1284" y="1368"/>
                </a:lnTo>
                <a:lnTo>
                  <a:pt x="1278" y="1386"/>
                </a:lnTo>
                <a:lnTo>
                  <a:pt x="1266" y="1392"/>
                </a:lnTo>
                <a:lnTo>
                  <a:pt x="1260" y="1404"/>
                </a:lnTo>
                <a:lnTo>
                  <a:pt x="1254" y="1404"/>
                </a:lnTo>
                <a:lnTo>
                  <a:pt x="1230" y="1422"/>
                </a:lnTo>
                <a:lnTo>
                  <a:pt x="1218" y="1428"/>
                </a:lnTo>
                <a:lnTo>
                  <a:pt x="1212" y="1428"/>
                </a:lnTo>
                <a:lnTo>
                  <a:pt x="1176" y="1422"/>
                </a:lnTo>
                <a:lnTo>
                  <a:pt x="1176" y="1410"/>
                </a:lnTo>
                <a:lnTo>
                  <a:pt x="1170" y="1398"/>
                </a:lnTo>
                <a:lnTo>
                  <a:pt x="1152" y="1392"/>
                </a:lnTo>
                <a:lnTo>
                  <a:pt x="1134" y="1380"/>
                </a:lnTo>
                <a:lnTo>
                  <a:pt x="1146" y="1344"/>
                </a:lnTo>
                <a:lnTo>
                  <a:pt x="1164" y="1332"/>
                </a:lnTo>
                <a:lnTo>
                  <a:pt x="1164" y="1326"/>
                </a:lnTo>
                <a:lnTo>
                  <a:pt x="1146" y="1332"/>
                </a:lnTo>
                <a:lnTo>
                  <a:pt x="1134" y="1332"/>
                </a:lnTo>
                <a:lnTo>
                  <a:pt x="1098" y="1362"/>
                </a:lnTo>
                <a:lnTo>
                  <a:pt x="1086" y="1386"/>
                </a:lnTo>
                <a:lnTo>
                  <a:pt x="1092" y="1416"/>
                </a:lnTo>
                <a:lnTo>
                  <a:pt x="1068" y="1440"/>
                </a:lnTo>
                <a:lnTo>
                  <a:pt x="1032" y="1452"/>
                </a:lnTo>
                <a:lnTo>
                  <a:pt x="990" y="1428"/>
                </a:lnTo>
                <a:lnTo>
                  <a:pt x="972" y="1410"/>
                </a:lnTo>
                <a:lnTo>
                  <a:pt x="954" y="1404"/>
                </a:lnTo>
                <a:lnTo>
                  <a:pt x="954" y="1398"/>
                </a:lnTo>
                <a:lnTo>
                  <a:pt x="948" y="1392"/>
                </a:lnTo>
                <a:lnTo>
                  <a:pt x="948" y="1380"/>
                </a:lnTo>
                <a:lnTo>
                  <a:pt x="948" y="1362"/>
                </a:lnTo>
                <a:lnTo>
                  <a:pt x="942" y="1344"/>
                </a:lnTo>
                <a:lnTo>
                  <a:pt x="936" y="1344"/>
                </a:lnTo>
                <a:lnTo>
                  <a:pt x="942" y="1362"/>
                </a:lnTo>
                <a:lnTo>
                  <a:pt x="924" y="1350"/>
                </a:lnTo>
                <a:lnTo>
                  <a:pt x="924" y="1362"/>
                </a:lnTo>
                <a:lnTo>
                  <a:pt x="936" y="1368"/>
                </a:lnTo>
                <a:lnTo>
                  <a:pt x="936" y="1374"/>
                </a:lnTo>
                <a:lnTo>
                  <a:pt x="924" y="1380"/>
                </a:lnTo>
                <a:lnTo>
                  <a:pt x="894" y="1374"/>
                </a:lnTo>
                <a:lnTo>
                  <a:pt x="870" y="1380"/>
                </a:lnTo>
                <a:lnTo>
                  <a:pt x="828" y="1374"/>
                </a:lnTo>
                <a:lnTo>
                  <a:pt x="804" y="1368"/>
                </a:lnTo>
                <a:lnTo>
                  <a:pt x="798" y="1362"/>
                </a:lnTo>
                <a:lnTo>
                  <a:pt x="774" y="1362"/>
                </a:lnTo>
                <a:lnTo>
                  <a:pt x="756" y="1356"/>
                </a:lnTo>
                <a:lnTo>
                  <a:pt x="750" y="1350"/>
                </a:lnTo>
                <a:lnTo>
                  <a:pt x="750" y="1338"/>
                </a:lnTo>
                <a:lnTo>
                  <a:pt x="726" y="1368"/>
                </a:lnTo>
                <a:lnTo>
                  <a:pt x="708" y="1368"/>
                </a:lnTo>
                <a:lnTo>
                  <a:pt x="696" y="1368"/>
                </a:lnTo>
                <a:lnTo>
                  <a:pt x="678" y="1392"/>
                </a:lnTo>
                <a:lnTo>
                  <a:pt x="660" y="1404"/>
                </a:lnTo>
                <a:lnTo>
                  <a:pt x="660" y="1398"/>
                </a:lnTo>
                <a:lnTo>
                  <a:pt x="606" y="1380"/>
                </a:lnTo>
                <a:lnTo>
                  <a:pt x="582" y="1374"/>
                </a:lnTo>
                <a:lnTo>
                  <a:pt x="564" y="1374"/>
                </a:lnTo>
                <a:lnTo>
                  <a:pt x="558" y="1374"/>
                </a:lnTo>
                <a:lnTo>
                  <a:pt x="546" y="1368"/>
                </a:lnTo>
                <a:lnTo>
                  <a:pt x="540" y="1356"/>
                </a:lnTo>
                <a:lnTo>
                  <a:pt x="534" y="1344"/>
                </a:lnTo>
                <a:lnTo>
                  <a:pt x="516" y="1338"/>
                </a:lnTo>
                <a:lnTo>
                  <a:pt x="516" y="1332"/>
                </a:lnTo>
                <a:lnTo>
                  <a:pt x="510" y="1332"/>
                </a:lnTo>
                <a:lnTo>
                  <a:pt x="498" y="1326"/>
                </a:lnTo>
                <a:lnTo>
                  <a:pt x="498" y="1320"/>
                </a:lnTo>
                <a:lnTo>
                  <a:pt x="516" y="1284"/>
                </a:lnTo>
                <a:lnTo>
                  <a:pt x="510" y="1260"/>
                </a:lnTo>
                <a:lnTo>
                  <a:pt x="516" y="1254"/>
                </a:lnTo>
                <a:lnTo>
                  <a:pt x="522" y="1278"/>
                </a:lnTo>
                <a:lnTo>
                  <a:pt x="528" y="1278"/>
                </a:lnTo>
                <a:lnTo>
                  <a:pt x="540" y="1254"/>
                </a:lnTo>
                <a:lnTo>
                  <a:pt x="546" y="1254"/>
                </a:lnTo>
                <a:lnTo>
                  <a:pt x="552" y="1248"/>
                </a:lnTo>
                <a:lnTo>
                  <a:pt x="534" y="1236"/>
                </a:lnTo>
                <a:lnTo>
                  <a:pt x="528" y="1218"/>
                </a:lnTo>
                <a:lnTo>
                  <a:pt x="516" y="1212"/>
                </a:lnTo>
                <a:lnTo>
                  <a:pt x="504" y="1212"/>
                </a:lnTo>
                <a:lnTo>
                  <a:pt x="504" y="1236"/>
                </a:lnTo>
                <a:lnTo>
                  <a:pt x="480" y="1194"/>
                </a:lnTo>
                <a:lnTo>
                  <a:pt x="438" y="1134"/>
                </a:lnTo>
                <a:lnTo>
                  <a:pt x="432" y="1116"/>
                </a:lnTo>
                <a:lnTo>
                  <a:pt x="414" y="1104"/>
                </a:lnTo>
                <a:lnTo>
                  <a:pt x="402" y="1098"/>
                </a:lnTo>
                <a:lnTo>
                  <a:pt x="396" y="1092"/>
                </a:lnTo>
                <a:lnTo>
                  <a:pt x="390" y="1086"/>
                </a:lnTo>
                <a:lnTo>
                  <a:pt x="372" y="1092"/>
                </a:lnTo>
                <a:lnTo>
                  <a:pt x="360" y="1086"/>
                </a:lnTo>
                <a:lnTo>
                  <a:pt x="348" y="1080"/>
                </a:lnTo>
                <a:lnTo>
                  <a:pt x="330" y="1074"/>
                </a:lnTo>
                <a:lnTo>
                  <a:pt x="318" y="1068"/>
                </a:lnTo>
                <a:lnTo>
                  <a:pt x="312" y="1068"/>
                </a:lnTo>
                <a:lnTo>
                  <a:pt x="270" y="1056"/>
                </a:lnTo>
                <a:lnTo>
                  <a:pt x="246" y="1050"/>
                </a:lnTo>
                <a:lnTo>
                  <a:pt x="240" y="1044"/>
                </a:lnTo>
                <a:lnTo>
                  <a:pt x="222" y="1032"/>
                </a:lnTo>
                <a:lnTo>
                  <a:pt x="210" y="1020"/>
                </a:lnTo>
                <a:lnTo>
                  <a:pt x="204" y="1014"/>
                </a:lnTo>
                <a:lnTo>
                  <a:pt x="198" y="1008"/>
                </a:lnTo>
                <a:lnTo>
                  <a:pt x="198" y="996"/>
                </a:lnTo>
                <a:lnTo>
                  <a:pt x="210" y="990"/>
                </a:lnTo>
                <a:lnTo>
                  <a:pt x="240" y="984"/>
                </a:lnTo>
                <a:lnTo>
                  <a:pt x="258" y="984"/>
                </a:lnTo>
                <a:lnTo>
                  <a:pt x="270" y="978"/>
                </a:lnTo>
                <a:lnTo>
                  <a:pt x="276" y="966"/>
                </a:lnTo>
                <a:lnTo>
                  <a:pt x="288" y="960"/>
                </a:lnTo>
                <a:lnTo>
                  <a:pt x="306" y="966"/>
                </a:lnTo>
                <a:lnTo>
                  <a:pt x="342" y="966"/>
                </a:lnTo>
                <a:lnTo>
                  <a:pt x="354" y="960"/>
                </a:lnTo>
                <a:lnTo>
                  <a:pt x="360" y="960"/>
                </a:lnTo>
                <a:lnTo>
                  <a:pt x="366" y="936"/>
                </a:lnTo>
                <a:lnTo>
                  <a:pt x="378" y="924"/>
                </a:lnTo>
                <a:lnTo>
                  <a:pt x="378" y="918"/>
                </a:lnTo>
                <a:lnTo>
                  <a:pt x="378" y="906"/>
                </a:lnTo>
                <a:lnTo>
                  <a:pt x="414" y="882"/>
                </a:lnTo>
                <a:lnTo>
                  <a:pt x="426" y="888"/>
                </a:lnTo>
                <a:lnTo>
                  <a:pt x="438" y="876"/>
                </a:lnTo>
                <a:lnTo>
                  <a:pt x="450" y="858"/>
                </a:lnTo>
                <a:lnTo>
                  <a:pt x="456" y="858"/>
                </a:lnTo>
                <a:lnTo>
                  <a:pt x="462" y="864"/>
                </a:lnTo>
                <a:lnTo>
                  <a:pt x="462" y="870"/>
                </a:lnTo>
                <a:lnTo>
                  <a:pt x="504" y="918"/>
                </a:lnTo>
                <a:lnTo>
                  <a:pt x="510" y="936"/>
                </a:lnTo>
                <a:lnTo>
                  <a:pt x="522" y="942"/>
                </a:lnTo>
                <a:lnTo>
                  <a:pt x="522" y="948"/>
                </a:lnTo>
                <a:lnTo>
                  <a:pt x="528" y="954"/>
                </a:lnTo>
                <a:lnTo>
                  <a:pt x="534" y="960"/>
                </a:lnTo>
                <a:lnTo>
                  <a:pt x="540" y="990"/>
                </a:lnTo>
                <a:lnTo>
                  <a:pt x="534" y="1002"/>
                </a:lnTo>
                <a:lnTo>
                  <a:pt x="540" y="1014"/>
                </a:lnTo>
                <a:lnTo>
                  <a:pt x="552" y="1032"/>
                </a:lnTo>
                <a:lnTo>
                  <a:pt x="570" y="1068"/>
                </a:lnTo>
                <a:lnTo>
                  <a:pt x="588" y="1080"/>
                </a:lnTo>
                <a:lnTo>
                  <a:pt x="618" y="1104"/>
                </a:lnTo>
                <a:lnTo>
                  <a:pt x="624" y="1116"/>
                </a:lnTo>
                <a:lnTo>
                  <a:pt x="618" y="1122"/>
                </a:lnTo>
                <a:lnTo>
                  <a:pt x="618" y="1140"/>
                </a:lnTo>
                <a:lnTo>
                  <a:pt x="624" y="1158"/>
                </a:lnTo>
                <a:lnTo>
                  <a:pt x="624" y="1170"/>
                </a:lnTo>
                <a:lnTo>
                  <a:pt x="642" y="1194"/>
                </a:lnTo>
                <a:lnTo>
                  <a:pt x="654" y="1200"/>
                </a:lnTo>
                <a:lnTo>
                  <a:pt x="678" y="1194"/>
                </a:lnTo>
                <a:lnTo>
                  <a:pt x="690" y="1194"/>
                </a:lnTo>
                <a:lnTo>
                  <a:pt x="696" y="1194"/>
                </a:lnTo>
                <a:lnTo>
                  <a:pt x="702" y="1194"/>
                </a:lnTo>
                <a:lnTo>
                  <a:pt x="708" y="1194"/>
                </a:lnTo>
                <a:lnTo>
                  <a:pt x="684" y="1182"/>
                </a:lnTo>
                <a:lnTo>
                  <a:pt x="672" y="1176"/>
                </a:lnTo>
                <a:lnTo>
                  <a:pt x="666" y="1164"/>
                </a:lnTo>
                <a:lnTo>
                  <a:pt x="648" y="1164"/>
                </a:lnTo>
                <a:lnTo>
                  <a:pt x="648" y="1146"/>
                </a:lnTo>
                <a:lnTo>
                  <a:pt x="648" y="1128"/>
                </a:lnTo>
                <a:lnTo>
                  <a:pt x="636" y="1092"/>
                </a:lnTo>
                <a:lnTo>
                  <a:pt x="636" y="1074"/>
                </a:lnTo>
                <a:lnTo>
                  <a:pt x="630" y="1062"/>
                </a:lnTo>
                <a:lnTo>
                  <a:pt x="624" y="1044"/>
                </a:lnTo>
                <a:lnTo>
                  <a:pt x="612" y="1026"/>
                </a:lnTo>
                <a:lnTo>
                  <a:pt x="612" y="1020"/>
                </a:lnTo>
                <a:lnTo>
                  <a:pt x="612" y="1008"/>
                </a:lnTo>
                <a:lnTo>
                  <a:pt x="612" y="972"/>
                </a:lnTo>
                <a:lnTo>
                  <a:pt x="612" y="960"/>
                </a:lnTo>
                <a:lnTo>
                  <a:pt x="606" y="930"/>
                </a:lnTo>
                <a:lnTo>
                  <a:pt x="606" y="924"/>
                </a:lnTo>
                <a:lnTo>
                  <a:pt x="606" y="918"/>
                </a:lnTo>
                <a:lnTo>
                  <a:pt x="612" y="918"/>
                </a:lnTo>
                <a:lnTo>
                  <a:pt x="636" y="936"/>
                </a:lnTo>
                <a:lnTo>
                  <a:pt x="642" y="942"/>
                </a:lnTo>
                <a:lnTo>
                  <a:pt x="648" y="948"/>
                </a:lnTo>
                <a:lnTo>
                  <a:pt x="654" y="948"/>
                </a:lnTo>
                <a:lnTo>
                  <a:pt x="660" y="954"/>
                </a:lnTo>
                <a:lnTo>
                  <a:pt x="666" y="960"/>
                </a:lnTo>
                <a:lnTo>
                  <a:pt x="672" y="966"/>
                </a:lnTo>
                <a:lnTo>
                  <a:pt x="690" y="978"/>
                </a:lnTo>
                <a:lnTo>
                  <a:pt x="696" y="984"/>
                </a:lnTo>
                <a:lnTo>
                  <a:pt x="702" y="984"/>
                </a:lnTo>
                <a:lnTo>
                  <a:pt x="708" y="1008"/>
                </a:lnTo>
                <a:lnTo>
                  <a:pt x="744" y="1062"/>
                </a:lnTo>
                <a:lnTo>
                  <a:pt x="750" y="1080"/>
                </a:lnTo>
                <a:lnTo>
                  <a:pt x="762" y="1092"/>
                </a:lnTo>
                <a:lnTo>
                  <a:pt x="762" y="1062"/>
                </a:lnTo>
                <a:lnTo>
                  <a:pt x="744" y="1032"/>
                </a:lnTo>
                <a:lnTo>
                  <a:pt x="732" y="1032"/>
                </a:lnTo>
                <a:lnTo>
                  <a:pt x="738" y="1014"/>
                </a:lnTo>
                <a:lnTo>
                  <a:pt x="720" y="966"/>
                </a:lnTo>
                <a:lnTo>
                  <a:pt x="720" y="960"/>
                </a:lnTo>
                <a:lnTo>
                  <a:pt x="702" y="948"/>
                </a:lnTo>
                <a:lnTo>
                  <a:pt x="702" y="942"/>
                </a:lnTo>
                <a:lnTo>
                  <a:pt x="696" y="930"/>
                </a:lnTo>
                <a:lnTo>
                  <a:pt x="678" y="912"/>
                </a:lnTo>
                <a:lnTo>
                  <a:pt x="672" y="906"/>
                </a:lnTo>
                <a:lnTo>
                  <a:pt x="666" y="882"/>
                </a:lnTo>
                <a:lnTo>
                  <a:pt x="660" y="858"/>
                </a:lnTo>
                <a:lnTo>
                  <a:pt x="654" y="846"/>
                </a:lnTo>
                <a:lnTo>
                  <a:pt x="660" y="828"/>
                </a:lnTo>
                <a:lnTo>
                  <a:pt x="666" y="822"/>
                </a:lnTo>
                <a:lnTo>
                  <a:pt x="666" y="810"/>
                </a:lnTo>
                <a:lnTo>
                  <a:pt x="666" y="804"/>
                </a:lnTo>
                <a:lnTo>
                  <a:pt x="666" y="798"/>
                </a:lnTo>
                <a:lnTo>
                  <a:pt x="666" y="786"/>
                </a:lnTo>
                <a:lnTo>
                  <a:pt x="666" y="774"/>
                </a:lnTo>
                <a:lnTo>
                  <a:pt x="666" y="756"/>
                </a:lnTo>
                <a:lnTo>
                  <a:pt x="666" y="750"/>
                </a:lnTo>
                <a:lnTo>
                  <a:pt x="672" y="744"/>
                </a:lnTo>
                <a:lnTo>
                  <a:pt x="678" y="738"/>
                </a:lnTo>
                <a:lnTo>
                  <a:pt x="678" y="732"/>
                </a:lnTo>
                <a:lnTo>
                  <a:pt x="684" y="732"/>
                </a:lnTo>
                <a:lnTo>
                  <a:pt x="684" y="726"/>
                </a:lnTo>
                <a:lnTo>
                  <a:pt x="684" y="720"/>
                </a:lnTo>
                <a:lnTo>
                  <a:pt x="684" y="714"/>
                </a:lnTo>
                <a:lnTo>
                  <a:pt x="684" y="696"/>
                </a:lnTo>
                <a:lnTo>
                  <a:pt x="690" y="690"/>
                </a:lnTo>
                <a:lnTo>
                  <a:pt x="696" y="690"/>
                </a:lnTo>
                <a:lnTo>
                  <a:pt x="702" y="684"/>
                </a:lnTo>
                <a:lnTo>
                  <a:pt x="708" y="678"/>
                </a:lnTo>
                <a:lnTo>
                  <a:pt x="720" y="672"/>
                </a:lnTo>
                <a:lnTo>
                  <a:pt x="732" y="678"/>
                </a:lnTo>
                <a:lnTo>
                  <a:pt x="750" y="702"/>
                </a:lnTo>
                <a:lnTo>
                  <a:pt x="756" y="708"/>
                </a:lnTo>
                <a:lnTo>
                  <a:pt x="768" y="714"/>
                </a:lnTo>
                <a:lnTo>
                  <a:pt x="768" y="720"/>
                </a:lnTo>
                <a:lnTo>
                  <a:pt x="774" y="738"/>
                </a:lnTo>
                <a:lnTo>
                  <a:pt x="792" y="750"/>
                </a:lnTo>
                <a:lnTo>
                  <a:pt x="798" y="762"/>
                </a:lnTo>
                <a:lnTo>
                  <a:pt x="798" y="786"/>
                </a:lnTo>
                <a:lnTo>
                  <a:pt x="804" y="798"/>
                </a:lnTo>
                <a:lnTo>
                  <a:pt x="816" y="804"/>
                </a:lnTo>
                <a:lnTo>
                  <a:pt x="834" y="822"/>
                </a:lnTo>
                <a:lnTo>
                  <a:pt x="846" y="858"/>
                </a:lnTo>
                <a:lnTo>
                  <a:pt x="852" y="870"/>
                </a:lnTo>
                <a:lnTo>
                  <a:pt x="858" y="876"/>
                </a:lnTo>
                <a:lnTo>
                  <a:pt x="882" y="912"/>
                </a:lnTo>
                <a:lnTo>
                  <a:pt x="894" y="924"/>
                </a:lnTo>
                <a:lnTo>
                  <a:pt x="912" y="948"/>
                </a:lnTo>
                <a:lnTo>
                  <a:pt x="948" y="990"/>
                </a:lnTo>
                <a:lnTo>
                  <a:pt x="954" y="1008"/>
                </a:lnTo>
                <a:lnTo>
                  <a:pt x="948" y="1026"/>
                </a:lnTo>
                <a:lnTo>
                  <a:pt x="942" y="1032"/>
                </a:lnTo>
                <a:lnTo>
                  <a:pt x="936" y="1032"/>
                </a:lnTo>
                <a:lnTo>
                  <a:pt x="936" y="1038"/>
                </a:lnTo>
                <a:lnTo>
                  <a:pt x="942" y="1038"/>
                </a:lnTo>
                <a:lnTo>
                  <a:pt x="948" y="1038"/>
                </a:lnTo>
                <a:lnTo>
                  <a:pt x="954" y="1032"/>
                </a:lnTo>
                <a:lnTo>
                  <a:pt x="954" y="1080"/>
                </a:lnTo>
                <a:lnTo>
                  <a:pt x="948" y="1110"/>
                </a:lnTo>
                <a:lnTo>
                  <a:pt x="942" y="1110"/>
                </a:lnTo>
                <a:lnTo>
                  <a:pt x="924" y="1116"/>
                </a:lnTo>
                <a:lnTo>
                  <a:pt x="918" y="1140"/>
                </a:lnTo>
                <a:lnTo>
                  <a:pt x="912" y="1140"/>
                </a:lnTo>
                <a:lnTo>
                  <a:pt x="906" y="1152"/>
                </a:lnTo>
                <a:lnTo>
                  <a:pt x="912" y="1158"/>
                </a:lnTo>
                <a:lnTo>
                  <a:pt x="924" y="1158"/>
                </a:lnTo>
                <a:lnTo>
                  <a:pt x="936" y="1152"/>
                </a:lnTo>
                <a:lnTo>
                  <a:pt x="954" y="1140"/>
                </a:lnTo>
                <a:lnTo>
                  <a:pt x="960" y="1134"/>
                </a:lnTo>
                <a:lnTo>
                  <a:pt x="978" y="1122"/>
                </a:lnTo>
                <a:lnTo>
                  <a:pt x="984" y="1128"/>
                </a:lnTo>
                <a:lnTo>
                  <a:pt x="978" y="1152"/>
                </a:lnTo>
                <a:lnTo>
                  <a:pt x="984" y="1158"/>
                </a:lnTo>
                <a:lnTo>
                  <a:pt x="984" y="1146"/>
                </a:lnTo>
                <a:lnTo>
                  <a:pt x="996" y="1128"/>
                </a:lnTo>
                <a:lnTo>
                  <a:pt x="1002" y="1128"/>
                </a:lnTo>
                <a:lnTo>
                  <a:pt x="1020" y="1170"/>
                </a:lnTo>
                <a:lnTo>
                  <a:pt x="1032" y="1182"/>
                </a:lnTo>
                <a:lnTo>
                  <a:pt x="1044" y="1182"/>
                </a:lnTo>
                <a:lnTo>
                  <a:pt x="1044" y="1176"/>
                </a:lnTo>
                <a:lnTo>
                  <a:pt x="1044" y="1164"/>
                </a:lnTo>
                <a:lnTo>
                  <a:pt x="1044" y="1152"/>
                </a:lnTo>
                <a:lnTo>
                  <a:pt x="1044" y="1140"/>
                </a:lnTo>
                <a:lnTo>
                  <a:pt x="1044" y="1134"/>
                </a:lnTo>
                <a:lnTo>
                  <a:pt x="1044" y="1128"/>
                </a:lnTo>
                <a:lnTo>
                  <a:pt x="1056" y="1128"/>
                </a:lnTo>
                <a:lnTo>
                  <a:pt x="1074" y="1134"/>
                </a:lnTo>
                <a:lnTo>
                  <a:pt x="1086" y="1134"/>
                </a:lnTo>
                <a:lnTo>
                  <a:pt x="1110" y="1140"/>
                </a:lnTo>
                <a:lnTo>
                  <a:pt x="1122" y="1140"/>
                </a:lnTo>
                <a:lnTo>
                  <a:pt x="1140" y="1134"/>
                </a:lnTo>
                <a:lnTo>
                  <a:pt x="1158" y="1140"/>
                </a:lnTo>
                <a:lnTo>
                  <a:pt x="1158" y="1134"/>
                </a:lnTo>
                <a:lnTo>
                  <a:pt x="1164" y="1134"/>
                </a:lnTo>
                <a:lnTo>
                  <a:pt x="1152" y="1128"/>
                </a:lnTo>
                <a:lnTo>
                  <a:pt x="1134" y="1122"/>
                </a:lnTo>
                <a:lnTo>
                  <a:pt x="1128" y="1122"/>
                </a:lnTo>
                <a:lnTo>
                  <a:pt x="1122" y="1122"/>
                </a:lnTo>
                <a:lnTo>
                  <a:pt x="1110" y="1110"/>
                </a:lnTo>
                <a:lnTo>
                  <a:pt x="1104" y="1116"/>
                </a:lnTo>
                <a:lnTo>
                  <a:pt x="1092" y="1116"/>
                </a:lnTo>
                <a:lnTo>
                  <a:pt x="1068" y="1110"/>
                </a:lnTo>
                <a:lnTo>
                  <a:pt x="1062" y="1104"/>
                </a:lnTo>
                <a:lnTo>
                  <a:pt x="1056" y="1092"/>
                </a:lnTo>
                <a:lnTo>
                  <a:pt x="1044" y="1086"/>
                </a:lnTo>
                <a:lnTo>
                  <a:pt x="1038" y="1080"/>
                </a:lnTo>
                <a:lnTo>
                  <a:pt x="1032" y="1062"/>
                </a:lnTo>
                <a:lnTo>
                  <a:pt x="1026" y="1056"/>
                </a:lnTo>
                <a:lnTo>
                  <a:pt x="1020" y="1038"/>
                </a:lnTo>
                <a:lnTo>
                  <a:pt x="1014" y="1026"/>
                </a:lnTo>
                <a:lnTo>
                  <a:pt x="1008" y="1008"/>
                </a:lnTo>
                <a:lnTo>
                  <a:pt x="1008" y="990"/>
                </a:lnTo>
                <a:lnTo>
                  <a:pt x="1026" y="984"/>
                </a:lnTo>
                <a:lnTo>
                  <a:pt x="1044" y="990"/>
                </a:lnTo>
                <a:lnTo>
                  <a:pt x="1062" y="990"/>
                </a:lnTo>
                <a:lnTo>
                  <a:pt x="1086" y="1002"/>
                </a:lnTo>
                <a:lnTo>
                  <a:pt x="1092" y="1014"/>
                </a:lnTo>
                <a:lnTo>
                  <a:pt x="1134" y="1026"/>
                </a:lnTo>
                <a:lnTo>
                  <a:pt x="1140" y="1026"/>
                </a:lnTo>
                <a:lnTo>
                  <a:pt x="1140" y="1020"/>
                </a:lnTo>
                <a:lnTo>
                  <a:pt x="1158" y="1014"/>
                </a:lnTo>
                <a:lnTo>
                  <a:pt x="1194" y="1032"/>
                </a:lnTo>
                <a:lnTo>
                  <a:pt x="1230" y="1056"/>
                </a:lnTo>
                <a:lnTo>
                  <a:pt x="1242" y="1050"/>
                </a:lnTo>
                <a:lnTo>
                  <a:pt x="1236" y="1050"/>
                </a:lnTo>
                <a:lnTo>
                  <a:pt x="1236" y="1044"/>
                </a:lnTo>
                <a:lnTo>
                  <a:pt x="1236" y="1038"/>
                </a:lnTo>
                <a:lnTo>
                  <a:pt x="1236" y="1032"/>
                </a:lnTo>
                <a:lnTo>
                  <a:pt x="1230" y="1032"/>
                </a:lnTo>
                <a:lnTo>
                  <a:pt x="1236" y="1020"/>
                </a:lnTo>
                <a:lnTo>
                  <a:pt x="1242" y="1020"/>
                </a:lnTo>
                <a:lnTo>
                  <a:pt x="1248" y="1020"/>
                </a:lnTo>
                <a:lnTo>
                  <a:pt x="1272" y="1020"/>
                </a:lnTo>
                <a:lnTo>
                  <a:pt x="1284" y="1020"/>
                </a:lnTo>
                <a:lnTo>
                  <a:pt x="1284" y="1014"/>
                </a:lnTo>
                <a:lnTo>
                  <a:pt x="1284" y="1002"/>
                </a:lnTo>
                <a:lnTo>
                  <a:pt x="1278" y="996"/>
                </a:lnTo>
                <a:lnTo>
                  <a:pt x="1266" y="996"/>
                </a:lnTo>
                <a:lnTo>
                  <a:pt x="1212" y="996"/>
                </a:lnTo>
                <a:lnTo>
                  <a:pt x="1194" y="996"/>
                </a:lnTo>
                <a:lnTo>
                  <a:pt x="1176" y="990"/>
                </a:lnTo>
                <a:lnTo>
                  <a:pt x="1158" y="978"/>
                </a:lnTo>
                <a:lnTo>
                  <a:pt x="1134" y="978"/>
                </a:lnTo>
                <a:lnTo>
                  <a:pt x="1092" y="954"/>
                </a:lnTo>
                <a:lnTo>
                  <a:pt x="1068" y="942"/>
                </a:lnTo>
                <a:lnTo>
                  <a:pt x="1038" y="936"/>
                </a:lnTo>
                <a:lnTo>
                  <a:pt x="1032" y="930"/>
                </a:lnTo>
                <a:lnTo>
                  <a:pt x="996" y="894"/>
                </a:lnTo>
                <a:lnTo>
                  <a:pt x="972" y="852"/>
                </a:lnTo>
                <a:lnTo>
                  <a:pt x="972" y="858"/>
                </a:lnTo>
                <a:lnTo>
                  <a:pt x="942" y="840"/>
                </a:lnTo>
                <a:lnTo>
                  <a:pt x="936" y="834"/>
                </a:lnTo>
                <a:lnTo>
                  <a:pt x="924" y="786"/>
                </a:lnTo>
                <a:lnTo>
                  <a:pt x="924" y="762"/>
                </a:lnTo>
                <a:lnTo>
                  <a:pt x="912" y="726"/>
                </a:lnTo>
                <a:lnTo>
                  <a:pt x="912" y="714"/>
                </a:lnTo>
                <a:lnTo>
                  <a:pt x="918" y="690"/>
                </a:lnTo>
                <a:lnTo>
                  <a:pt x="918" y="684"/>
                </a:lnTo>
                <a:lnTo>
                  <a:pt x="918" y="648"/>
                </a:lnTo>
                <a:lnTo>
                  <a:pt x="930" y="624"/>
                </a:lnTo>
                <a:lnTo>
                  <a:pt x="936" y="606"/>
                </a:lnTo>
                <a:lnTo>
                  <a:pt x="954" y="594"/>
                </a:lnTo>
                <a:lnTo>
                  <a:pt x="966" y="588"/>
                </a:lnTo>
                <a:lnTo>
                  <a:pt x="978" y="588"/>
                </a:lnTo>
                <a:lnTo>
                  <a:pt x="984" y="588"/>
                </a:lnTo>
                <a:lnTo>
                  <a:pt x="990" y="588"/>
                </a:lnTo>
                <a:lnTo>
                  <a:pt x="996" y="588"/>
                </a:lnTo>
                <a:lnTo>
                  <a:pt x="996" y="594"/>
                </a:lnTo>
                <a:lnTo>
                  <a:pt x="1008" y="594"/>
                </a:lnTo>
                <a:lnTo>
                  <a:pt x="1014" y="594"/>
                </a:lnTo>
                <a:lnTo>
                  <a:pt x="1038" y="618"/>
                </a:lnTo>
                <a:lnTo>
                  <a:pt x="1038" y="630"/>
                </a:lnTo>
                <a:lnTo>
                  <a:pt x="1044" y="636"/>
                </a:lnTo>
                <a:lnTo>
                  <a:pt x="1050" y="642"/>
                </a:lnTo>
                <a:lnTo>
                  <a:pt x="1062" y="654"/>
                </a:lnTo>
                <a:lnTo>
                  <a:pt x="1062" y="660"/>
                </a:lnTo>
                <a:lnTo>
                  <a:pt x="1086" y="678"/>
                </a:lnTo>
                <a:lnTo>
                  <a:pt x="1086" y="684"/>
                </a:lnTo>
                <a:lnTo>
                  <a:pt x="1086" y="702"/>
                </a:lnTo>
                <a:lnTo>
                  <a:pt x="1098" y="738"/>
                </a:lnTo>
                <a:lnTo>
                  <a:pt x="1122" y="738"/>
                </a:lnTo>
                <a:lnTo>
                  <a:pt x="1140" y="744"/>
                </a:lnTo>
                <a:lnTo>
                  <a:pt x="1152" y="750"/>
                </a:lnTo>
                <a:lnTo>
                  <a:pt x="1158" y="750"/>
                </a:lnTo>
                <a:lnTo>
                  <a:pt x="1170" y="744"/>
                </a:lnTo>
                <a:lnTo>
                  <a:pt x="1176" y="786"/>
                </a:lnTo>
                <a:lnTo>
                  <a:pt x="1188" y="810"/>
                </a:lnTo>
                <a:lnTo>
                  <a:pt x="1206" y="816"/>
                </a:lnTo>
                <a:lnTo>
                  <a:pt x="1224" y="840"/>
                </a:lnTo>
                <a:lnTo>
                  <a:pt x="1236" y="840"/>
                </a:lnTo>
                <a:lnTo>
                  <a:pt x="1248" y="846"/>
                </a:lnTo>
                <a:lnTo>
                  <a:pt x="1254" y="864"/>
                </a:lnTo>
                <a:lnTo>
                  <a:pt x="1272" y="870"/>
                </a:lnTo>
                <a:lnTo>
                  <a:pt x="1278" y="888"/>
                </a:lnTo>
                <a:lnTo>
                  <a:pt x="1290" y="894"/>
                </a:lnTo>
                <a:lnTo>
                  <a:pt x="1296" y="900"/>
                </a:lnTo>
                <a:lnTo>
                  <a:pt x="1320" y="912"/>
                </a:lnTo>
                <a:lnTo>
                  <a:pt x="1314" y="894"/>
                </a:lnTo>
                <a:lnTo>
                  <a:pt x="1308" y="888"/>
                </a:lnTo>
                <a:lnTo>
                  <a:pt x="1296" y="882"/>
                </a:lnTo>
                <a:lnTo>
                  <a:pt x="1296" y="888"/>
                </a:lnTo>
                <a:lnTo>
                  <a:pt x="1284" y="864"/>
                </a:lnTo>
                <a:lnTo>
                  <a:pt x="1272" y="852"/>
                </a:lnTo>
                <a:lnTo>
                  <a:pt x="1260" y="840"/>
                </a:lnTo>
                <a:lnTo>
                  <a:pt x="1242" y="816"/>
                </a:lnTo>
                <a:lnTo>
                  <a:pt x="1218" y="804"/>
                </a:lnTo>
                <a:lnTo>
                  <a:pt x="1194" y="780"/>
                </a:lnTo>
                <a:lnTo>
                  <a:pt x="1200" y="768"/>
                </a:lnTo>
                <a:lnTo>
                  <a:pt x="1200" y="750"/>
                </a:lnTo>
                <a:lnTo>
                  <a:pt x="1194" y="738"/>
                </a:lnTo>
                <a:lnTo>
                  <a:pt x="1182" y="726"/>
                </a:lnTo>
                <a:lnTo>
                  <a:pt x="1158" y="726"/>
                </a:lnTo>
                <a:lnTo>
                  <a:pt x="1140" y="702"/>
                </a:lnTo>
                <a:lnTo>
                  <a:pt x="1128" y="684"/>
                </a:lnTo>
                <a:lnTo>
                  <a:pt x="1122" y="672"/>
                </a:lnTo>
                <a:lnTo>
                  <a:pt x="1128" y="648"/>
                </a:lnTo>
                <a:lnTo>
                  <a:pt x="1122" y="636"/>
                </a:lnTo>
                <a:lnTo>
                  <a:pt x="1110" y="618"/>
                </a:lnTo>
                <a:lnTo>
                  <a:pt x="1092" y="570"/>
                </a:lnTo>
                <a:lnTo>
                  <a:pt x="1092" y="558"/>
                </a:lnTo>
                <a:lnTo>
                  <a:pt x="1092" y="552"/>
                </a:lnTo>
                <a:lnTo>
                  <a:pt x="1086" y="552"/>
                </a:lnTo>
                <a:lnTo>
                  <a:pt x="1080" y="540"/>
                </a:lnTo>
                <a:lnTo>
                  <a:pt x="1074" y="510"/>
                </a:lnTo>
                <a:lnTo>
                  <a:pt x="1074" y="504"/>
                </a:lnTo>
                <a:lnTo>
                  <a:pt x="1074" y="498"/>
                </a:lnTo>
                <a:lnTo>
                  <a:pt x="1074" y="486"/>
                </a:lnTo>
                <a:lnTo>
                  <a:pt x="1074" y="480"/>
                </a:lnTo>
                <a:lnTo>
                  <a:pt x="1068" y="474"/>
                </a:lnTo>
                <a:lnTo>
                  <a:pt x="1068" y="468"/>
                </a:lnTo>
                <a:lnTo>
                  <a:pt x="1068" y="450"/>
                </a:lnTo>
                <a:lnTo>
                  <a:pt x="1074" y="438"/>
                </a:lnTo>
                <a:lnTo>
                  <a:pt x="1074" y="426"/>
                </a:lnTo>
                <a:lnTo>
                  <a:pt x="1074" y="420"/>
                </a:lnTo>
                <a:lnTo>
                  <a:pt x="1074" y="408"/>
                </a:lnTo>
                <a:lnTo>
                  <a:pt x="1086" y="402"/>
                </a:lnTo>
                <a:lnTo>
                  <a:pt x="1092" y="396"/>
                </a:lnTo>
                <a:lnTo>
                  <a:pt x="1098" y="390"/>
                </a:lnTo>
                <a:lnTo>
                  <a:pt x="1104" y="390"/>
                </a:lnTo>
                <a:lnTo>
                  <a:pt x="1116" y="378"/>
                </a:lnTo>
                <a:lnTo>
                  <a:pt x="1122" y="372"/>
                </a:lnTo>
                <a:lnTo>
                  <a:pt x="1128" y="372"/>
                </a:lnTo>
                <a:lnTo>
                  <a:pt x="1134" y="366"/>
                </a:lnTo>
                <a:lnTo>
                  <a:pt x="1140" y="372"/>
                </a:lnTo>
                <a:lnTo>
                  <a:pt x="1146" y="372"/>
                </a:lnTo>
                <a:lnTo>
                  <a:pt x="1146" y="378"/>
                </a:lnTo>
                <a:lnTo>
                  <a:pt x="1152" y="384"/>
                </a:lnTo>
                <a:lnTo>
                  <a:pt x="1170" y="396"/>
                </a:lnTo>
                <a:lnTo>
                  <a:pt x="1170" y="402"/>
                </a:lnTo>
                <a:lnTo>
                  <a:pt x="1170" y="408"/>
                </a:lnTo>
                <a:lnTo>
                  <a:pt x="1182" y="414"/>
                </a:lnTo>
                <a:lnTo>
                  <a:pt x="1188" y="414"/>
                </a:lnTo>
                <a:lnTo>
                  <a:pt x="1194" y="420"/>
                </a:lnTo>
                <a:lnTo>
                  <a:pt x="1200" y="432"/>
                </a:lnTo>
                <a:lnTo>
                  <a:pt x="1206" y="432"/>
                </a:lnTo>
                <a:lnTo>
                  <a:pt x="1212" y="438"/>
                </a:lnTo>
                <a:lnTo>
                  <a:pt x="1218" y="456"/>
                </a:lnTo>
                <a:lnTo>
                  <a:pt x="1224" y="456"/>
                </a:lnTo>
                <a:lnTo>
                  <a:pt x="1224" y="462"/>
                </a:lnTo>
                <a:lnTo>
                  <a:pt x="1224" y="468"/>
                </a:lnTo>
                <a:lnTo>
                  <a:pt x="1230" y="480"/>
                </a:lnTo>
                <a:lnTo>
                  <a:pt x="1236" y="486"/>
                </a:lnTo>
                <a:lnTo>
                  <a:pt x="1254" y="498"/>
                </a:lnTo>
                <a:lnTo>
                  <a:pt x="1266" y="510"/>
                </a:lnTo>
                <a:lnTo>
                  <a:pt x="1290" y="528"/>
                </a:lnTo>
                <a:lnTo>
                  <a:pt x="1296" y="558"/>
                </a:lnTo>
                <a:lnTo>
                  <a:pt x="1308" y="546"/>
                </a:lnTo>
                <a:lnTo>
                  <a:pt x="1314" y="546"/>
                </a:lnTo>
                <a:lnTo>
                  <a:pt x="1320" y="552"/>
                </a:lnTo>
                <a:lnTo>
                  <a:pt x="1314" y="558"/>
                </a:lnTo>
                <a:lnTo>
                  <a:pt x="1308" y="588"/>
                </a:lnTo>
                <a:lnTo>
                  <a:pt x="1302" y="588"/>
                </a:lnTo>
                <a:lnTo>
                  <a:pt x="1296" y="588"/>
                </a:lnTo>
                <a:lnTo>
                  <a:pt x="1308" y="600"/>
                </a:lnTo>
                <a:lnTo>
                  <a:pt x="1308" y="612"/>
                </a:lnTo>
                <a:lnTo>
                  <a:pt x="1314" y="618"/>
                </a:lnTo>
                <a:lnTo>
                  <a:pt x="1320" y="624"/>
                </a:lnTo>
                <a:lnTo>
                  <a:pt x="1326" y="630"/>
                </a:lnTo>
                <a:lnTo>
                  <a:pt x="1332" y="630"/>
                </a:lnTo>
                <a:lnTo>
                  <a:pt x="1326" y="630"/>
                </a:lnTo>
                <a:lnTo>
                  <a:pt x="1320" y="600"/>
                </a:lnTo>
                <a:lnTo>
                  <a:pt x="1320" y="588"/>
                </a:lnTo>
                <a:lnTo>
                  <a:pt x="1326" y="558"/>
                </a:lnTo>
                <a:lnTo>
                  <a:pt x="1320" y="528"/>
                </a:lnTo>
                <a:lnTo>
                  <a:pt x="1302" y="492"/>
                </a:lnTo>
                <a:lnTo>
                  <a:pt x="1296" y="486"/>
                </a:lnTo>
                <a:lnTo>
                  <a:pt x="1290" y="486"/>
                </a:lnTo>
                <a:lnTo>
                  <a:pt x="1284" y="498"/>
                </a:lnTo>
                <a:lnTo>
                  <a:pt x="1278" y="492"/>
                </a:lnTo>
                <a:lnTo>
                  <a:pt x="1284" y="474"/>
                </a:lnTo>
                <a:lnTo>
                  <a:pt x="1272" y="456"/>
                </a:lnTo>
                <a:lnTo>
                  <a:pt x="1272" y="432"/>
                </a:lnTo>
                <a:lnTo>
                  <a:pt x="1266" y="432"/>
                </a:lnTo>
                <a:lnTo>
                  <a:pt x="1266" y="426"/>
                </a:lnTo>
                <a:lnTo>
                  <a:pt x="1266" y="420"/>
                </a:lnTo>
                <a:lnTo>
                  <a:pt x="1242" y="396"/>
                </a:lnTo>
                <a:lnTo>
                  <a:pt x="1242" y="366"/>
                </a:lnTo>
                <a:lnTo>
                  <a:pt x="1236" y="342"/>
                </a:lnTo>
                <a:lnTo>
                  <a:pt x="1242" y="336"/>
                </a:lnTo>
                <a:lnTo>
                  <a:pt x="1254" y="330"/>
                </a:lnTo>
                <a:lnTo>
                  <a:pt x="1266" y="336"/>
                </a:lnTo>
                <a:lnTo>
                  <a:pt x="1272" y="342"/>
                </a:lnTo>
                <a:lnTo>
                  <a:pt x="1290" y="348"/>
                </a:lnTo>
                <a:lnTo>
                  <a:pt x="1296" y="354"/>
                </a:lnTo>
                <a:lnTo>
                  <a:pt x="1302" y="354"/>
                </a:lnTo>
                <a:lnTo>
                  <a:pt x="1308" y="348"/>
                </a:lnTo>
                <a:lnTo>
                  <a:pt x="1314" y="348"/>
                </a:lnTo>
                <a:lnTo>
                  <a:pt x="1314" y="342"/>
                </a:lnTo>
                <a:lnTo>
                  <a:pt x="1326" y="348"/>
                </a:lnTo>
                <a:lnTo>
                  <a:pt x="1332" y="354"/>
                </a:lnTo>
                <a:lnTo>
                  <a:pt x="1338" y="360"/>
                </a:lnTo>
                <a:lnTo>
                  <a:pt x="1344" y="366"/>
                </a:lnTo>
                <a:lnTo>
                  <a:pt x="1350" y="372"/>
                </a:lnTo>
                <a:lnTo>
                  <a:pt x="1356" y="378"/>
                </a:lnTo>
                <a:lnTo>
                  <a:pt x="1362" y="378"/>
                </a:lnTo>
                <a:lnTo>
                  <a:pt x="1368" y="402"/>
                </a:lnTo>
                <a:lnTo>
                  <a:pt x="1380" y="438"/>
                </a:lnTo>
                <a:lnTo>
                  <a:pt x="1392" y="450"/>
                </a:lnTo>
                <a:lnTo>
                  <a:pt x="1398" y="468"/>
                </a:lnTo>
                <a:lnTo>
                  <a:pt x="1404" y="474"/>
                </a:lnTo>
                <a:lnTo>
                  <a:pt x="1404" y="468"/>
                </a:lnTo>
                <a:lnTo>
                  <a:pt x="1404" y="462"/>
                </a:lnTo>
                <a:lnTo>
                  <a:pt x="1410" y="462"/>
                </a:lnTo>
                <a:lnTo>
                  <a:pt x="1404" y="462"/>
                </a:lnTo>
                <a:lnTo>
                  <a:pt x="1404" y="456"/>
                </a:lnTo>
                <a:lnTo>
                  <a:pt x="1398" y="450"/>
                </a:lnTo>
                <a:lnTo>
                  <a:pt x="1392" y="438"/>
                </a:lnTo>
                <a:lnTo>
                  <a:pt x="1380" y="414"/>
                </a:lnTo>
                <a:lnTo>
                  <a:pt x="1380" y="384"/>
                </a:lnTo>
                <a:lnTo>
                  <a:pt x="1368" y="360"/>
                </a:lnTo>
                <a:lnTo>
                  <a:pt x="1356" y="354"/>
                </a:lnTo>
                <a:lnTo>
                  <a:pt x="1344" y="348"/>
                </a:lnTo>
                <a:lnTo>
                  <a:pt x="1332" y="336"/>
                </a:lnTo>
                <a:lnTo>
                  <a:pt x="1326" y="330"/>
                </a:lnTo>
                <a:lnTo>
                  <a:pt x="1314" y="324"/>
                </a:lnTo>
                <a:lnTo>
                  <a:pt x="1302" y="324"/>
                </a:lnTo>
                <a:lnTo>
                  <a:pt x="1302" y="312"/>
                </a:lnTo>
                <a:lnTo>
                  <a:pt x="1302" y="300"/>
                </a:lnTo>
                <a:lnTo>
                  <a:pt x="1308" y="300"/>
                </a:lnTo>
                <a:lnTo>
                  <a:pt x="1308" y="294"/>
                </a:lnTo>
                <a:lnTo>
                  <a:pt x="1314" y="294"/>
                </a:lnTo>
                <a:lnTo>
                  <a:pt x="1320" y="294"/>
                </a:lnTo>
                <a:lnTo>
                  <a:pt x="1326" y="294"/>
                </a:lnTo>
                <a:lnTo>
                  <a:pt x="1332" y="288"/>
                </a:lnTo>
                <a:lnTo>
                  <a:pt x="1338" y="288"/>
                </a:lnTo>
                <a:lnTo>
                  <a:pt x="1344" y="282"/>
                </a:lnTo>
                <a:lnTo>
                  <a:pt x="1350" y="282"/>
                </a:lnTo>
                <a:lnTo>
                  <a:pt x="1356" y="282"/>
                </a:lnTo>
                <a:lnTo>
                  <a:pt x="1368" y="276"/>
                </a:lnTo>
                <a:lnTo>
                  <a:pt x="1374" y="276"/>
                </a:lnTo>
                <a:lnTo>
                  <a:pt x="1380" y="276"/>
                </a:lnTo>
                <a:lnTo>
                  <a:pt x="1392" y="282"/>
                </a:lnTo>
                <a:lnTo>
                  <a:pt x="1398" y="282"/>
                </a:lnTo>
                <a:lnTo>
                  <a:pt x="1404" y="288"/>
                </a:lnTo>
                <a:lnTo>
                  <a:pt x="1410" y="276"/>
                </a:lnTo>
                <a:lnTo>
                  <a:pt x="1410" y="270"/>
                </a:lnTo>
                <a:lnTo>
                  <a:pt x="1416" y="270"/>
                </a:lnTo>
                <a:lnTo>
                  <a:pt x="1416" y="264"/>
                </a:lnTo>
                <a:lnTo>
                  <a:pt x="1422" y="264"/>
                </a:lnTo>
                <a:lnTo>
                  <a:pt x="1434" y="264"/>
                </a:lnTo>
                <a:lnTo>
                  <a:pt x="1434" y="270"/>
                </a:lnTo>
                <a:lnTo>
                  <a:pt x="1440" y="270"/>
                </a:lnTo>
                <a:lnTo>
                  <a:pt x="1440" y="276"/>
                </a:lnTo>
                <a:lnTo>
                  <a:pt x="1452" y="282"/>
                </a:lnTo>
                <a:lnTo>
                  <a:pt x="1458" y="288"/>
                </a:lnTo>
                <a:lnTo>
                  <a:pt x="1464" y="294"/>
                </a:lnTo>
                <a:lnTo>
                  <a:pt x="1470" y="306"/>
                </a:lnTo>
                <a:lnTo>
                  <a:pt x="1476" y="306"/>
                </a:lnTo>
                <a:lnTo>
                  <a:pt x="1482" y="306"/>
                </a:lnTo>
                <a:lnTo>
                  <a:pt x="1488" y="312"/>
                </a:lnTo>
                <a:lnTo>
                  <a:pt x="1500" y="324"/>
                </a:lnTo>
                <a:lnTo>
                  <a:pt x="1512" y="336"/>
                </a:lnTo>
                <a:lnTo>
                  <a:pt x="1518" y="336"/>
                </a:lnTo>
                <a:lnTo>
                  <a:pt x="1524" y="348"/>
                </a:lnTo>
                <a:lnTo>
                  <a:pt x="1530" y="360"/>
                </a:lnTo>
                <a:lnTo>
                  <a:pt x="1536" y="360"/>
                </a:lnTo>
                <a:lnTo>
                  <a:pt x="1542" y="378"/>
                </a:lnTo>
                <a:lnTo>
                  <a:pt x="1542" y="414"/>
                </a:lnTo>
                <a:lnTo>
                  <a:pt x="1548" y="420"/>
                </a:lnTo>
                <a:lnTo>
                  <a:pt x="1554" y="420"/>
                </a:lnTo>
                <a:lnTo>
                  <a:pt x="1554" y="426"/>
                </a:lnTo>
                <a:lnTo>
                  <a:pt x="1560" y="426"/>
                </a:lnTo>
                <a:lnTo>
                  <a:pt x="1566" y="432"/>
                </a:lnTo>
                <a:lnTo>
                  <a:pt x="1572" y="438"/>
                </a:lnTo>
                <a:lnTo>
                  <a:pt x="1572" y="444"/>
                </a:lnTo>
                <a:lnTo>
                  <a:pt x="1572" y="450"/>
                </a:lnTo>
                <a:lnTo>
                  <a:pt x="1578" y="462"/>
                </a:lnTo>
                <a:lnTo>
                  <a:pt x="1584" y="462"/>
                </a:lnTo>
                <a:lnTo>
                  <a:pt x="1584" y="468"/>
                </a:lnTo>
                <a:lnTo>
                  <a:pt x="1590" y="474"/>
                </a:lnTo>
                <a:lnTo>
                  <a:pt x="1584" y="504"/>
                </a:lnTo>
                <a:lnTo>
                  <a:pt x="1590" y="522"/>
                </a:lnTo>
                <a:lnTo>
                  <a:pt x="1554" y="570"/>
                </a:lnTo>
                <a:lnTo>
                  <a:pt x="1548" y="570"/>
                </a:lnTo>
                <a:lnTo>
                  <a:pt x="1524" y="570"/>
                </a:lnTo>
                <a:lnTo>
                  <a:pt x="1518" y="570"/>
                </a:lnTo>
                <a:lnTo>
                  <a:pt x="1518" y="576"/>
                </a:lnTo>
                <a:lnTo>
                  <a:pt x="1512" y="600"/>
                </a:lnTo>
                <a:lnTo>
                  <a:pt x="1518" y="594"/>
                </a:lnTo>
                <a:lnTo>
                  <a:pt x="1536" y="588"/>
                </a:lnTo>
                <a:lnTo>
                  <a:pt x="1572" y="576"/>
                </a:lnTo>
                <a:lnTo>
                  <a:pt x="1578" y="570"/>
                </a:lnTo>
                <a:lnTo>
                  <a:pt x="1584" y="564"/>
                </a:lnTo>
                <a:lnTo>
                  <a:pt x="1590" y="564"/>
                </a:lnTo>
                <a:lnTo>
                  <a:pt x="1596" y="564"/>
                </a:lnTo>
                <a:lnTo>
                  <a:pt x="1614" y="552"/>
                </a:lnTo>
                <a:lnTo>
                  <a:pt x="1620" y="552"/>
                </a:lnTo>
                <a:lnTo>
                  <a:pt x="1632" y="552"/>
                </a:lnTo>
                <a:lnTo>
                  <a:pt x="1632" y="576"/>
                </a:lnTo>
                <a:lnTo>
                  <a:pt x="1632" y="582"/>
                </a:lnTo>
                <a:lnTo>
                  <a:pt x="1638" y="588"/>
                </a:lnTo>
                <a:lnTo>
                  <a:pt x="1638" y="606"/>
                </a:lnTo>
                <a:lnTo>
                  <a:pt x="1638" y="612"/>
                </a:lnTo>
                <a:lnTo>
                  <a:pt x="1608" y="672"/>
                </a:lnTo>
                <a:lnTo>
                  <a:pt x="1590" y="696"/>
                </a:lnTo>
                <a:lnTo>
                  <a:pt x="1578" y="708"/>
                </a:lnTo>
                <a:lnTo>
                  <a:pt x="1572" y="708"/>
                </a:lnTo>
                <a:lnTo>
                  <a:pt x="1566" y="708"/>
                </a:lnTo>
                <a:lnTo>
                  <a:pt x="1554" y="714"/>
                </a:lnTo>
                <a:lnTo>
                  <a:pt x="1548" y="714"/>
                </a:lnTo>
                <a:lnTo>
                  <a:pt x="1536" y="726"/>
                </a:lnTo>
                <a:lnTo>
                  <a:pt x="1494" y="750"/>
                </a:lnTo>
                <a:lnTo>
                  <a:pt x="1500" y="756"/>
                </a:lnTo>
                <a:lnTo>
                  <a:pt x="1518" y="750"/>
                </a:lnTo>
                <a:lnTo>
                  <a:pt x="1524" y="756"/>
                </a:lnTo>
                <a:lnTo>
                  <a:pt x="1524" y="750"/>
                </a:lnTo>
                <a:lnTo>
                  <a:pt x="1542" y="738"/>
                </a:lnTo>
                <a:lnTo>
                  <a:pt x="1554" y="738"/>
                </a:lnTo>
                <a:lnTo>
                  <a:pt x="1560" y="732"/>
                </a:lnTo>
                <a:lnTo>
                  <a:pt x="1572" y="726"/>
                </a:lnTo>
                <a:lnTo>
                  <a:pt x="1584" y="720"/>
                </a:lnTo>
                <a:lnTo>
                  <a:pt x="1596" y="714"/>
                </a:lnTo>
                <a:lnTo>
                  <a:pt x="1602" y="714"/>
                </a:lnTo>
                <a:lnTo>
                  <a:pt x="1614" y="702"/>
                </a:lnTo>
                <a:lnTo>
                  <a:pt x="1620" y="696"/>
                </a:lnTo>
                <a:lnTo>
                  <a:pt x="1620" y="690"/>
                </a:lnTo>
                <a:lnTo>
                  <a:pt x="1626" y="684"/>
                </a:lnTo>
                <a:lnTo>
                  <a:pt x="1638" y="672"/>
                </a:lnTo>
                <a:lnTo>
                  <a:pt x="1644" y="666"/>
                </a:lnTo>
                <a:lnTo>
                  <a:pt x="1644" y="678"/>
                </a:lnTo>
                <a:lnTo>
                  <a:pt x="1638" y="690"/>
                </a:lnTo>
                <a:lnTo>
                  <a:pt x="1638" y="714"/>
                </a:lnTo>
                <a:lnTo>
                  <a:pt x="1632" y="726"/>
                </a:lnTo>
                <a:lnTo>
                  <a:pt x="1632" y="732"/>
                </a:lnTo>
                <a:lnTo>
                  <a:pt x="1614" y="744"/>
                </a:lnTo>
                <a:lnTo>
                  <a:pt x="1608" y="756"/>
                </a:lnTo>
                <a:lnTo>
                  <a:pt x="1602" y="768"/>
                </a:lnTo>
                <a:lnTo>
                  <a:pt x="1590" y="792"/>
                </a:lnTo>
                <a:lnTo>
                  <a:pt x="1596" y="798"/>
                </a:lnTo>
                <a:lnTo>
                  <a:pt x="1608" y="780"/>
                </a:lnTo>
                <a:lnTo>
                  <a:pt x="1608" y="774"/>
                </a:lnTo>
                <a:lnTo>
                  <a:pt x="1614" y="762"/>
                </a:lnTo>
                <a:lnTo>
                  <a:pt x="1614" y="756"/>
                </a:lnTo>
                <a:lnTo>
                  <a:pt x="1626" y="750"/>
                </a:lnTo>
                <a:lnTo>
                  <a:pt x="1650" y="738"/>
                </a:lnTo>
                <a:lnTo>
                  <a:pt x="1656" y="732"/>
                </a:lnTo>
                <a:lnTo>
                  <a:pt x="1662" y="732"/>
                </a:lnTo>
                <a:lnTo>
                  <a:pt x="1668" y="714"/>
                </a:lnTo>
                <a:lnTo>
                  <a:pt x="1674" y="708"/>
                </a:lnTo>
                <a:lnTo>
                  <a:pt x="1674" y="696"/>
                </a:lnTo>
                <a:lnTo>
                  <a:pt x="1680" y="708"/>
                </a:lnTo>
                <a:lnTo>
                  <a:pt x="1680" y="714"/>
                </a:lnTo>
                <a:lnTo>
                  <a:pt x="1674" y="732"/>
                </a:lnTo>
                <a:lnTo>
                  <a:pt x="1674" y="744"/>
                </a:lnTo>
                <a:lnTo>
                  <a:pt x="1668" y="750"/>
                </a:lnTo>
                <a:lnTo>
                  <a:pt x="1656" y="762"/>
                </a:lnTo>
                <a:lnTo>
                  <a:pt x="1644" y="780"/>
                </a:lnTo>
                <a:lnTo>
                  <a:pt x="1608" y="810"/>
                </a:lnTo>
                <a:lnTo>
                  <a:pt x="1584" y="828"/>
                </a:lnTo>
                <a:lnTo>
                  <a:pt x="1548" y="840"/>
                </a:lnTo>
                <a:lnTo>
                  <a:pt x="1524" y="852"/>
                </a:lnTo>
                <a:lnTo>
                  <a:pt x="1512" y="864"/>
                </a:lnTo>
                <a:lnTo>
                  <a:pt x="1518" y="870"/>
                </a:lnTo>
                <a:lnTo>
                  <a:pt x="1518" y="864"/>
                </a:lnTo>
                <a:lnTo>
                  <a:pt x="1524" y="864"/>
                </a:lnTo>
                <a:lnTo>
                  <a:pt x="1536" y="858"/>
                </a:lnTo>
                <a:lnTo>
                  <a:pt x="1542" y="852"/>
                </a:lnTo>
                <a:lnTo>
                  <a:pt x="1548" y="852"/>
                </a:lnTo>
                <a:lnTo>
                  <a:pt x="1554" y="852"/>
                </a:lnTo>
                <a:lnTo>
                  <a:pt x="1560" y="852"/>
                </a:lnTo>
                <a:lnTo>
                  <a:pt x="1572" y="846"/>
                </a:lnTo>
                <a:lnTo>
                  <a:pt x="1578" y="840"/>
                </a:lnTo>
                <a:lnTo>
                  <a:pt x="1578" y="834"/>
                </a:lnTo>
                <a:lnTo>
                  <a:pt x="1584" y="834"/>
                </a:lnTo>
                <a:lnTo>
                  <a:pt x="1596" y="840"/>
                </a:lnTo>
                <a:lnTo>
                  <a:pt x="1596" y="834"/>
                </a:lnTo>
                <a:lnTo>
                  <a:pt x="1602" y="834"/>
                </a:lnTo>
                <a:lnTo>
                  <a:pt x="1614" y="828"/>
                </a:lnTo>
                <a:lnTo>
                  <a:pt x="1620" y="828"/>
                </a:lnTo>
                <a:lnTo>
                  <a:pt x="1626" y="816"/>
                </a:lnTo>
                <a:lnTo>
                  <a:pt x="1650" y="786"/>
                </a:lnTo>
                <a:lnTo>
                  <a:pt x="1674" y="780"/>
                </a:lnTo>
                <a:lnTo>
                  <a:pt x="1686" y="780"/>
                </a:lnTo>
                <a:lnTo>
                  <a:pt x="1686" y="786"/>
                </a:lnTo>
                <a:lnTo>
                  <a:pt x="1686" y="792"/>
                </a:lnTo>
                <a:lnTo>
                  <a:pt x="1668" y="816"/>
                </a:lnTo>
                <a:lnTo>
                  <a:pt x="1644" y="858"/>
                </a:lnTo>
                <a:lnTo>
                  <a:pt x="1602" y="906"/>
                </a:lnTo>
                <a:lnTo>
                  <a:pt x="1584" y="936"/>
                </a:lnTo>
                <a:lnTo>
                  <a:pt x="1590" y="936"/>
                </a:lnTo>
                <a:lnTo>
                  <a:pt x="1596" y="930"/>
                </a:lnTo>
                <a:lnTo>
                  <a:pt x="1608" y="918"/>
                </a:lnTo>
                <a:lnTo>
                  <a:pt x="1620" y="906"/>
                </a:lnTo>
                <a:lnTo>
                  <a:pt x="1626" y="906"/>
                </a:lnTo>
                <a:lnTo>
                  <a:pt x="1632" y="906"/>
                </a:lnTo>
                <a:lnTo>
                  <a:pt x="1650" y="894"/>
                </a:lnTo>
                <a:lnTo>
                  <a:pt x="1656" y="882"/>
                </a:lnTo>
                <a:lnTo>
                  <a:pt x="1662" y="876"/>
                </a:lnTo>
                <a:lnTo>
                  <a:pt x="1668" y="864"/>
                </a:lnTo>
                <a:lnTo>
                  <a:pt x="1674" y="846"/>
                </a:lnTo>
                <a:lnTo>
                  <a:pt x="1686" y="828"/>
                </a:lnTo>
                <a:lnTo>
                  <a:pt x="1698" y="816"/>
                </a:lnTo>
                <a:lnTo>
                  <a:pt x="1710" y="792"/>
                </a:lnTo>
                <a:lnTo>
                  <a:pt x="1710" y="774"/>
                </a:lnTo>
                <a:lnTo>
                  <a:pt x="1734" y="750"/>
                </a:lnTo>
                <a:lnTo>
                  <a:pt x="1734" y="744"/>
                </a:lnTo>
                <a:lnTo>
                  <a:pt x="1740" y="738"/>
                </a:lnTo>
                <a:lnTo>
                  <a:pt x="1752" y="726"/>
                </a:lnTo>
                <a:lnTo>
                  <a:pt x="1764" y="708"/>
                </a:lnTo>
                <a:lnTo>
                  <a:pt x="1770" y="720"/>
                </a:lnTo>
                <a:lnTo>
                  <a:pt x="1776" y="744"/>
                </a:lnTo>
                <a:lnTo>
                  <a:pt x="1782" y="738"/>
                </a:lnTo>
                <a:lnTo>
                  <a:pt x="1788" y="738"/>
                </a:lnTo>
                <a:lnTo>
                  <a:pt x="1794" y="750"/>
                </a:lnTo>
                <a:lnTo>
                  <a:pt x="1812" y="738"/>
                </a:lnTo>
                <a:lnTo>
                  <a:pt x="1818" y="744"/>
                </a:lnTo>
                <a:lnTo>
                  <a:pt x="1800" y="768"/>
                </a:lnTo>
                <a:lnTo>
                  <a:pt x="1800" y="792"/>
                </a:lnTo>
                <a:lnTo>
                  <a:pt x="1800" y="804"/>
                </a:lnTo>
                <a:lnTo>
                  <a:pt x="1806" y="810"/>
                </a:lnTo>
                <a:lnTo>
                  <a:pt x="1818" y="816"/>
                </a:lnTo>
                <a:lnTo>
                  <a:pt x="1824" y="822"/>
                </a:lnTo>
                <a:lnTo>
                  <a:pt x="1818" y="846"/>
                </a:lnTo>
                <a:lnTo>
                  <a:pt x="1812" y="870"/>
                </a:lnTo>
                <a:lnTo>
                  <a:pt x="1818" y="888"/>
                </a:lnTo>
                <a:lnTo>
                  <a:pt x="1824" y="888"/>
                </a:lnTo>
                <a:lnTo>
                  <a:pt x="1824" y="894"/>
                </a:lnTo>
                <a:lnTo>
                  <a:pt x="1806" y="906"/>
                </a:lnTo>
                <a:lnTo>
                  <a:pt x="1782" y="966"/>
                </a:lnTo>
                <a:lnTo>
                  <a:pt x="1770" y="978"/>
                </a:lnTo>
                <a:lnTo>
                  <a:pt x="1752" y="1002"/>
                </a:lnTo>
                <a:lnTo>
                  <a:pt x="1734" y="1008"/>
                </a:lnTo>
                <a:lnTo>
                  <a:pt x="1728" y="1026"/>
                </a:lnTo>
                <a:lnTo>
                  <a:pt x="1698" y="1050"/>
                </a:lnTo>
                <a:lnTo>
                  <a:pt x="1674" y="1086"/>
                </a:lnTo>
                <a:lnTo>
                  <a:pt x="1650" y="1098"/>
                </a:lnTo>
                <a:lnTo>
                  <a:pt x="1656" y="1104"/>
                </a:lnTo>
                <a:lnTo>
                  <a:pt x="1662" y="1110"/>
                </a:lnTo>
                <a:lnTo>
                  <a:pt x="1668" y="1104"/>
                </a:lnTo>
                <a:lnTo>
                  <a:pt x="1698" y="1080"/>
                </a:lnTo>
                <a:lnTo>
                  <a:pt x="1716" y="1050"/>
                </a:lnTo>
                <a:lnTo>
                  <a:pt x="1734" y="1044"/>
                </a:lnTo>
                <a:lnTo>
                  <a:pt x="1740" y="1038"/>
                </a:lnTo>
                <a:lnTo>
                  <a:pt x="1752" y="1014"/>
                </a:lnTo>
                <a:lnTo>
                  <a:pt x="1764" y="1014"/>
                </a:lnTo>
                <a:lnTo>
                  <a:pt x="1776" y="1002"/>
                </a:lnTo>
                <a:lnTo>
                  <a:pt x="1782" y="996"/>
                </a:lnTo>
                <a:lnTo>
                  <a:pt x="1788" y="984"/>
                </a:lnTo>
                <a:lnTo>
                  <a:pt x="1788" y="972"/>
                </a:lnTo>
                <a:lnTo>
                  <a:pt x="1812" y="966"/>
                </a:lnTo>
                <a:lnTo>
                  <a:pt x="1824" y="954"/>
                </a:lnTo>
                <a:lnTo>
                  <a:pt x="1824" y="936"/>
                </a:lnTo>
                <a:lnTo>
                  <a:pt x="1842" y="924"/>
                </a:lnTo>
                <a:lnTo>
                  <a:pt x="1842" y="912"/>
                </a:lnTo>
                <a:lnTo>
                  <a:pt x="1848" y="906"/>
                </a:lnTo>
                <a:lnTo>
                  <a:pt x="1854" y="906"/>
                </a:lnTo>
                <a:lnTo>
                  <a:pt x="1860" y="924"/>
                </a:lnTo>
                <a:lnTo>
                  <a:pt x="1860" y="948"/>
                </a:lnTo>
                <a:lnTo>
                  <a:pt x="1848" y="960"/>
                </a:lnTo>
                <a:lnTo>
                  <a:pt x="1842" y="972"/>
                </a:lnTo>
                <a:lnTo>
                  <a:pt x="1854" y="990"/>
                </a:lnTo>
                <a:lnTo>
                  <a:pt x="1860" y="990"/>
                </a:lnTo>
                <a:lnTo>
                  <a:pt x="1860" y="972"/>
                </a:lnTo>
                <a:lnTo>
                  <a:pt x="1860" y="966"/>
                </a:lnTo>
                <a:lnTo>
                  <a:pt x="1866" y="978"/>
                </a:lnTo>
                <a:lnTo>
                  <a:pt x="1872" y="996"/>
                </a:lnTo>
                <a:lnTo>
                  <a:pt x="1872" y="1002"/>
                </a:lnTo>
                <a:lnTo>
                  <a:pt x="1860" y="1020"/>
                </a:lnTo>
                <a:lnTo>
                  <a:pt x="1854" y="1044"/>
                </a:lnTo>
                <a:lnTo>
                  <a:pt x="1836" y="1068"/>
                </a:lnTo>
                <a:lnTo>
                  <a:pt x="1854" y="1062"/>
                </a:lnTo>
                <a:lnTo>
                  <a:pt x="1860" y="1056"/>
                </a:lnTo>
                <a:lnTo>
                  <a:pt x="1860" y="1044"/>
                </a:lnTo>
                <a:lnTo>
                  <a:pt x="1872" y="1020"/>
                </a:lnTo>
                <a:lnTo>
                  <a:pt x="1878" y="1014"/>
                </a:lnTo>
                <a:lnTo>
                  <a:pt x="1878" y="1020"/>
                </a:lnTo>
                <a:lnTo>
                  <a:pt x="1872" y="1056"/>
                </a:lnTo>
                <a:lnTo>
                  <a:pt x="1848" y="1080"/>
                </a:lnTo>
                <a:lnTo>
                  <a:pt x="1842" y="1098"/>
                </a:lnTo>
                <a:lnTo>
                  <a:pt x="1806" y="1122"/>
                </a:lnTo>
                <a:lnTo>
                  <a:pt x="1770" y="1158"/>
                </a:lnTo>
                <a:lnTo>
                  <a:pt x="1740" y="1164"/>
                </a:lnTo>
                <a:lnTo>
                  <a:pt x="1734" y="1170"/>
                </a:lnTo>
                <a:lnTo>
                  <a:pt x="1674" y="1194"/>
                </a:lnTo>
                <a:lnTo>
                  <a:pt x="1680" y="1194"/>
                </a:lnTo>
                <a:lnTo>
                  <a:pt x="1722" y="1182"/>
                </a:lnTo>
                <a:lnTo>
                  <a:pt x="1758" y="1176"/>
                </a:lnTo>
                <a:lnTo>
                  <a:pt x="1788" y="1152"/>
                </a:lnTo>
                <a:lnTo>
                  <a:pt x="1794" y="1158"/>
                </a:lnTo>
                <a:lnTo>
                  <a:pt x="1812" y="1152"/>
                </a:lnTo>
                <a:lnTo>
                  <a:pt x="1818" y="1146"/>
                </a:lnTo>
                <a:lnTo>
                  <a:pt x="1830" y="1128"/>
                </a:lnTo>
                <a:lnTo>
                  <a:pt x="1854" y="1110"/>
                </a:lnTo>
                <a:lnTo>
                  <a:pt x="1872" y="1092"/>
                </a:lnTo>
                <a:lnTo>
                  <a:pt x="1884" y="1074"/>
                </a:lnTo>
                <a:lnTo>
                  <a:pt x="1896" y="1062"/>
                </a:lnTo>
                <a:lnTo>
                  <a:pt x="1908" y="1074"/>
                </a:lnTo>
                <a:lnTo>
                  <a:pt x="1920" y="1074"/>
                </a:lnTo>
                <a:lnTo>
                  <a:pt x="1914" y="1062"/>
                </a:lnTo>
                <a:lnTo>
                  <a:pt x="1914" y="1044"/>
                </a:lnTo>
                <a:lnTo>
                  <a:pt x="1908" y="1038"/>
                </a:lnTo>
                <a:lnTo>
                  <a:pt x="1914" y="1020"/>
                </a:lnTo>
                <a:lnTo>
                  <a:pt x="1914" y="996"/>
                </a:lnTo>
                <a:lnTo>
                  <a:pt x="1932" y="954"/>
                </a:lnTo>
                <a:lnTo>
                  <a:pt x="1932" y="936"/>
                </a:lnTo>
                <a:lnTo>
                  <a:pt x="1938" y="900"/>
                </a:lnTo>
                <a:lnTo>
                  <a:pt x="1926" y="864"/>
                </a:lnTo>
                <a:lnTo>
                  <a:pt x="1920" y="852"/>
                </a:lnTo>
                <a:lnTo>
                  <a:pt x="1920" y="840"/>
                </a:lnTo>
                <a:lnTo>
                  <a:pt x="1932" y="822"/>
                </a:lnTo>
                <a:lnTo>
                  <a:pt x="1938" y="828"/>
                </a:lnTo>
                <a:lnTo>
                  <a:pt x="1944" y="822"/>
                </a:lnTo>
                <a:lnTo>
                  <a:pt x="1956" y="792"/>
                </a:lnTo>
                <a:lnTo>
                  <a:pt x="1974" y="786"/>
                </a:lnTo>
                <a:lnTo>
                  <a:pt x="1998" y="786"/>
                </a:lnTo>
                <a:lnTo>
                  <a:pt x="2022" y="780"/>
                </a:lnTo>
                <a:lnTo>
                  <a:pt x="2034" y="768"/>
                </a:lnTo>
                <a:lnTo>
                  <a:pt x="2022" y="762"/>
                </a:lnTo>
                <a:lnTo>
                  <a:pt x="1980" y="768"/>
                </a:lnTo>
                <a:lnTo>
                  <a:pt x="1956" y="768"/>
                </a:lnTo>
                <a:lnTo>
                  <a:pt x="1944" y="762"/>
                </a:lnTo>
                <a:lnTo>
                  <a:pt x="1932" y="744"/>
                </a:lnTo>
                <a:lnTo>
                  <a:pt x="1926" y="726"/>
                </a:lnTo>
                <a:lnTo>
                  <a:pt x="1908" y="708"/>
                </a:lnTo>
                <a:lnTo>
                  <a:pt x="1908" y="684"/>
                </a:lnTo>
                <a:lnTo>
                  <a:pt x="1902" y="672"/>
                </a:lnTo>
                <a:lnTo>
                  <a:pt x="1890" y="654"/>
                </a:lnTo>
                <a:lnTo>
                  <a:pt x="1872" y="648"/>
                </a:lnTo>
                <a:lnTo>
                  <a:pt x="1866" y="630"/>
                </a:lnTo>
                <a:lnTo>
                  <a:pt x="1854" y="624"/>
                </a:lnTo>
                <a:lnTo>
                  <a:pt x="1854" y="618"/>
                </a:lnTo>
                <a:lnTo>
                  <a:pt x="1848" y="600"/>
                </a:lnTo>
                <a:lnTo>
                  <a:pt x="1824" y="594"/>
                </a:lnTo>
                <a:lnTo>
                  <a:pt x="1812" y="558"/>
                </a:lnTo>
                <a:lnTo>
                  <a:pt x="1788" y="546"/>
                </a:lnTo>
                <a:lnTo>
                  <a:pt x="1782" y="540"/>
                </a:lnTo>
                <a:lnTo>
                  <a:pt x="1782" y="516"/>
                </a:lnTo>
                <a:lnTo>
                  <a:pt x="1770" y="510"/>
                </a:lnTo>
                <a:lnTo>
                  <a:pt x="1752" y="474"/>
                </a:lnTo>
                <a:lnTo>
                  <a:pt x="1752" y="462"/>
                </a:lnTo>
                <a:lnTo>
                  <a:pt x="1752" y="450"/>
                </a:lnTo>
                <a:lnTo>
                  <a:pt x="1746" y="444"/>
                </a:lnTo>
                <a:lnTo>
                  <a:pt x="1746" y="432"/>
                </a:lnTo>
                <a:lnTo>
                  <a:pt x="1746" y="426"/>
                </a:lnTo>
                <a:lnTo>
                  <a:pt x="1746" y="420"/>
                </a:lnTo>
                <a:lnTo>
                  <a:pt x="1746" y="408"/>
                </a:lnTo>
                <a:lnTo>
                  <a:pt x="1746" y="396"/>
                </a:lnTo>
                <a:lnTo>
                  <a:pt x="1746" y="390"/>
                </a:lnTo>
                <a:lnTo>
                  <a:pt x="1752" y="384"/>
                </a:lnTo>
                <a:lnTo>
                  <a:pt x="1764" y="372"/>
                </a:lnTo>
                <a:lnTo>
                  <a:pt x="1770" y="366"/>
                </a:lnTo>
                <a:lnTo>
                  <a:pt x="1776" y="366"/>
                </a:lnTo>
                <a:lnTo>
                  <a:pt x="1794" y="366"/>
                </a:lnTo>
                <a:lnTo>
                  <a:pt x="1830" y="384"/>
                </a:lnTo>
                <a:lnTo>
                  <a:pt x="1830" y="378"/>
                </a:lnTo>
                <a:lnTo>
                  <a:pt x="1836" y="372"/>
                </a:lnTo>
                <a:lnTo>
                  <a:pt x="1842" y="366"/>
                </a:lnTo>
                <a:lnTo>
                  <a:pt x="1848" y="372"/>
                </a:lnTo>
                <a:lnTo>
                  <a:pt x="1848" y="366"/>
                </a:lnTo>
                <a:lnTo>
                  <a:pt x="1854" y="366"/>
                </a:lnTo>
                <a:lnTo>
                  <a:pt x="1860" y="366"/>
                </a:lnTo>
                <a:lnTo>
                  <a:pt x="1866" y="366"/>
                </a:lnTo>
                <a:lnTo>
                  <a:pt x="1872" y="366"/>
                </a:lnTo>
                <a:lnTo>
                  <a:pt x="1914" y="378"/>
                </a:lnTo>
                <a:lnTo>
                  <a:pt x="1932" y="384"/>
                </a:lnTo>
                <a:lnTo>
                  <a:pt x="1938" y="396"/>
                </a:lnTo>
                <a:lnTo>
                  <a:pt x="1944" y="408"/>
                </a:lnTo>
                <a:lnTo>
                  <a:pt x="1950" y="438"/>
                </a:lnTo>
                <a:lnTo>
                  <a:pt x="1974" y="450"/>
                </a:lnTo>
                <a:lnTo>
                  <a:pt x="1986" y="456"/>
                </a:lnTo>
                <a:lnTo>
                  <a:pt x="1998" y="450"/>
                </a:lnTo>
                <a:lnTo>
                  <a:pt x="2010" y="468"/>
                </a:lnTo>
                <a:lnTo>
                  <a:pt x="2004" y="480"/>
                </a:lnTo>
                <a:lnTo>
                  <a:pt x="2010" y="498"/>
                </a:lnTo>
                <a:lnTo>
                  <a:pt x="2016" y="510"/>
                </a:lnTo>
                <a:lnTo>
                  <a:pt x="2016" y="522"/>
                </a:lnTo>
                <a:lnTo>
                  <a:pt x="2016" y="528"/>
                </a:lnTo>
                <a:lnTo>
                  <a:pt x="2022" y="522"/>
                </a:lnTo>
                <a:lnTo>
                  <a:pt x="2028" y="522"/>
                </a:lnTo>
                <a:lnTo>
                  <a:pt x="2028" y="510"/>
                </a:lnTo>
                <a:lnTo>
                  <a:pt x="2022" y="486"/>
                </a:lnTo>
                <a:lnTo>
                  <a:pt x="2022" y="480"/>
                </a:lnTo>
                <a:lnTo>
                  <a:pt x="2034" y="468"/>
                </a:lnTo>
                <a:lnTo>
                  <a:pt x="2052" y="486"/>
                </a:lnTo>
                <a:lnTo>
                  <a:pt x="2058" y="480"/>
                </a:lnTo>
                <a:lnTo>
                  <a:pt x="2076" y="486"/>
                </a:lnTo>
                <a:lnTo>
                  <a:pt x="2082" y="486"/>
                </a:lnTo>
                <a:lnTo>
                  <a:pt x="2106" y="492"/>
                </a:lnTo>
                <a:lnTo>
                  <a:pt x="2142" y="492"/>
                </a:lnTo>
                <a:lnTo>
                  <a:pt x="2148" y="492"/>
                </a:lnTo>
                <a:lnTo>
                  <a:pt x="2154" y="498"/>
                </a:lnTo>
                <a:lnTo>
                  <a:pt x="2166" y="498"/>
                </a:lnTo>
                <a:lnTo>
                  <a:pt x="2172" y="492"/>
                </a:lnTo>
                <a:lnTo>
                  <a:pt x="2172" y="486"/>
                </a:lnTo>
                <a:lnTo>
                  <a:pt x="2154" y="480"/>
                </a:lnTo>
                <a:lnTo>
                  <a:pt x="2136" y="474"/>
                </a:lnTo>
                <a:lnTo>
                  <a:pt x="2112" y="474"/>
                </a:lnTo>
                <a:lnTo>
                  <a:pt x="2082" y="456"/>
                </a:lnTo>
                <a:lnTo>
                  <a:pt x="2070" y="450"/>
                </a:lnTo>
                <a:lnTo>
                  <a:pt x="2058" y="438"/>
                </a:lnTo>
                <a:lnTo>
                  <a:pt x="2046" y="426"/>
                </a:lnTo>
                <a:lnTo>
                  <a:pt x="2070" y="408"/>
                </a:lnTo>
                <a:lnTo>
                  <a:pt x="2088" y="414"/>
                </a:lnTo>
                <a:lnTo>
                  <a:pt x="2094" y="414"/>
                </a:lnTo>
                <a:lnTo>
                  <a:pt x="2106" y="408"/>
                </a:lnTo>
                <a:lnTo>
                  <a:pt x="2124" y="402"/>
                </a:lnTo>
                <a:lnTo>
                  <a:pt x="2130" y="402"/>
                </a:lnTo>
                <a:lnTo>
                  <a:pt x="2142" y="402"/>
                </a:lnTo>
                <a:lnTo>
                  <a:pt x="2136" y="384"/>
                </a:lnTo>
                <a:lnTo>
                  <a:pt x="2148" y="372"/>
                </a:lnTo>
                <a:lnTo>
                  <a:pt x="2136" y="366"/>
                </a:lnTo>
                <a:lnTo>
                  <a:pt x="2130" y="354"/>
                </a:lnTo>
                <a:lnTo>
                  <a:pt x="2124" y="372"/>
                </a:lnTo>
                <a:lnTo>
                  <a:pt x="2106" y="384"/>
                </a:lnTo>
                <a:lnTo>
                  <a:pt x="2064" y="396"/>
                </a:lnTo>
                <a:lnTo>
                  <a:pt x="2052" y="402"/>
                </a:lnTo>
                <a:lnTo>
                  <a:pt x="2040" y="402"/>
                </a:lnTo>
                <a:lnTo>
                  <a:pt x="2034" y="396"/>
                </a:lnTo>
                <a:lnTo>
                  <a:pt x="2022" y="384"/>
                </a:lnTo>
                <a:lnTo>
                  <a:pt x="1998" y="372"/>
                </a:lnTo>
                <a:lnTo>
                  <a:pt x="1992" y="360"/>
                </a:lnTo>
                <a:lnTo>
                  <a:pt x="1986" y="354"/>
                </a:lnTo>
                <a:lnTo>
                  <a:pt x="1980" y="348"/>
                </a:lnTo>
                <a:lnTo>
                  <a:pt x="1980" y="330"/>
                </a:lnTo>
                <a:lnTo>
                  <a:pt x="2010" y="312"/>
                </a:lnTo>
                <a:lnTo>
                  <a:pt x="2028" y="294"/>
                </a:lnTo>
                <a:lnTo>
                  <a:pt x="2034" y="288"/>
                </a:lnTo>
                <a:lnTo>
                  <a:pt x="2040" y="288"/>
                </a:lnTo>
                <a:lnTo>
                  <a:pt x="2040" y="276"/>
                </a:lnTo>
                <a:lnTo>
                  <a:pt x="2046" y="276"/>
                </a:lnTo>
                <a:lnTo>
                  <a:pt x="2052" y="276"/>
                </a:lnTo>
                <a:lnTo>
                  <a:pt x="2058" y="276"/>
                </a:lnTo>
                <a:lnTo>
                  <a:pt x="2076" y="276"/>
                </a:lnTo>
                <a:lnTo>
                  <a:pt x="2088" y="276"/>
                </a:lnTo>
                <a:lnTo>
                  <a:pt x="2094" y="276"/>
                </a:lnTo>
                <a:lnTo>
                  <a:pt x="2100" y="270"/>
                </a:lnTo>
                <a:lnTo>
                  <a:pt x="2046" y="252"/>
                </a:lnTo>
                <a:lnTo>
                  <a:pt x="2034" y="258"/>
                </a:lnTo>
                <a:lnTo>
                  <a:pt x="1998" y="282"/>
                </a:lnTo>
                <a:lnTo>
                  <a:pt x="1974" y="294"/>
                </a:lnTo>
                <a:lnTo>
                  <a:pt x="1956" y="294"/>
                </a:lnTo>
                <a:lnTo>
                  <a:pt x="1944" y="294"/>
                </a:lnTo>
                <a:lnTo>
                  <a:pt x="1926" y="288"/>
                </a:lnTo>
                <a:lnTo>
                  <a:pt x="1914" y="282"/>
                </a:lnTo>
                <a:lnTo>
                  <a:pt x="1914" y="276"/>
                </a:lnTo>
                <a:lnTo>
                  <a:pt x="1932" y="252"/>
                </a:lnTo>
                <a:lnTo>
                  <a:pt x="1932" y="246"/>
                </a:lnTo>
                <a:lnTo>
                  <a:pt x="1938" y="240"/>
                </a:lnTo>
                <a:lnTo>
                  <a:pt x="1956" y="240"/>
                </a:lnTo>
                <a:lnTo>
                  <a:pt x="1962" y="240"/>
                </a:lnTo>
                <a:lnTo>
                  <a:pt x="1968" y="234"/>
                </a:lnTo>
                <a:lnTo>
                  <a:pt x="1980" y="228"/>
                </a:lnTo>
                <a:lnTo>
                  <a:pt x="1986" y="216"/>
                </a:lnTo>
                <a:lnTo>
                  <a:pt x="1968" y="228"/>
                </a:lnTo>
                <a:lnTo>
                  <a:pt x="1908" y="234"/>
                </a:lnTo>
                <a:lnTo>
                  <a:pt x="1890" y="252"/>
                </a:lnTo>
                <a:lnTo>
                  <a:pt x="1878" y="264"/>
                </a:lnTo>
                <a:lnTo>
                  <a:pt x="1860" y="258"/>
                </a:lnTo>
                <a:lnTo>
                  <a:pt x="1830" y="264"/>
                </a:lnTo>
                <a:lnTo>
                  <a:pt x="1824" y="270"/>
                </a:lnTo>
                <a:lnTo>
                  <a:pt x="1818" y="264"/>
                </a:lnTo>
                <a:lnTo>
                  <a:pt x="1806" y="258"/>
                </a:lnTo>
                <a:lnTo>
                  <a:pt x="1794" y="252"/>
                </a:lnTo>
                <a:lnTo>
                  <a:pt x="1788" y="252"/>
                </a:lnTo>
                <a:lnTo>
                  <a:pt x="1788" y="246"/>
                </a:lnTo>
                <a:lnTo>
                  <a:pt x="1782" y="246"/>
                </a:lnTo>
                <a:lnTo>
                  <a:pt x="1776" y="234"/>
                </a:lnTo>
                <a:lnTo>
                  <a:pt x="1770" y="228"/>
                </a:lnTo>
                <a:lnTo>
                  <a:pt x="1758" y="204"/>
                </a:lnTo>
                <a:lnTo>
                  <a:pt x="1752" y="198"/>
                </a:lnTo>
                <a:lnTo>
                  <a:pt x="1740" y="180"/>
                </a:lnTo>
                <a:lnTo>
                  <a:pt x="1734" y="174"/>
                </a:lnTo>
                <a:lnTo>
                  <a:pt x="1734" y="168"/>
                </a:lnTo>
                <a:lnTo>
                  <a:pt x="1734" y="162"/>
                </a:lnTo>
                <a:lnTo>
                  <a:pt x="1728" y="162"/>
                </a:lnTo>
                <a:lnTo>
                  <a:pt x="1728" y="156"/>
                </a:lnTo>
                <a:lnTo>
                  <a:pt x="1722" y="144"/>
                </a:lnTo>
                <a:lnTo>
                  <a:pt x="1716" y="132"/>
                </a:lnTo>
                <a:lnTo>
                  <a:pt x="1716" y="108"/>
                </a:lnTo>
                <a:lnTo>
                  <a:pt x="1722" y="96"/>
                </a:lnTo>
                <a:lnTo>
                  <a:pt x="1728" y="90"/>
                </a:lnTo>
                <a:lnTo>
                  <a:pt x="1734" y="90"/>
                </a:lnTo>
                <a:lnTo>
                  <a:pt x="1734" y="96"/>
                </a:lnTo>
                <a:lnTo>
                  <a:pt x="1740" y="102"/>
                </a:lnTo>
                <a:lnTo>
                  <a:pt x="1752" y="120"/>
                </a:lnTo>
                <a:lnTo>
                  <a:pt x="1758" y="126"/>
                </a:lnTo>
                <a:lnTo>
                  <a:pt x="1776" y="150"/>
                </a:lnTo>
                <a:lnTo>
                  <a:pt x="1782" y="156"/>
                </a:lnTo>
                <a:lnTo>
                  <a:pt x="1800" y="150"/>
                </a:lnTo>
                <a:lnTo>
                  <a:pt x="1806" y="144"/>
                </a:lnTo>
                <a:lnTo>
                  <a:pt x="1812" y="144"/>
                </a:lnTo>
                <a:lnTo>
                  <a:pt x="1830" y="144"/>
                </a:lnTo>
                <a:lnTo>
                  <a:pt x="1836" y="132"/>
                </a:lnTo>
                <a:lnTo>
                  <a:pt x="1854" y="108"/>
                </a:lnTo>
                <a:lnTo>
                  <a:pt x="1848" y="96"/>
                </a:lnTo>
                <a:lnTo>
                  <a:pt x="1842" y="96"/>
                </a:lnTo>
                <a:lnTo>
                  <a:pt x="1824" y="84"/>
                </a:lnTo>
                <a:lnTo>
                  <a:pt x="1824" y="60"/>
                </a:lnTo>
                <a:lnTo>
                  <a:pt x="1824" y="54"/>
                </a:lnTo>
                <a:lnTo>
                  <a:pt x="1824" y="42"/>
                </a:lnTo>
                <a:lnTo>
                  <a:pt x="1818" y="30"/>
                </a:lnTo>
                <a:lnTo>
                  <a:pt x="1818" y="24"/>
                </a:lnTo>
                <a:lnTo>
                  <a:pt x="1818" y="12"/>
                </a:lnTo>
                <a:lnTo>
                  <a:pt x="1812" y="0"/>
                </a:lnTo>
                <a:lnTo>
                  <a:pt x="1818" y="0"/>
                </a:lnTo>
                <a:lnTo>
                  <a:pt x="1836" y="0"/>
                </a:lnTo>
                <a:lnTo>
                  <a:pt x="1842" y="0"/>
                </a:lnTo>
                <a:lnTo>
                  <a:pt x="1848" y="12"/>
                </a:lnTo>
                <a:lnTo>
                  <a:pt x="1866" y="42"/>
                </a:lnTo>
                <a:lnTo>
                  <a:pt x="1866" y="60"/>
                </a:lnTo>
                <a:lnTo>
                  <a:pt x="1872" y="72"/>
                </a:lnTo>
                <a:lnTo>
                  <a:pt x="1872" y="66"/>
                </a:lnTo>
                <a:lnTo>
                  <a:pt x="1872" y="36"/>
                </a:lnTo>
                <a:lnTo>
                  <a:pt x="1878" y="30"/>
                </a:lnTo>
                <a:lnTo>
                  <a:pt x="1884" y="30"/>
                </a:lnTo>
                <a:lnTo>
                  <a:pt x="1890" y="30"/>
                </a:lnTo>
                <a:lnTo>
                  <a:pt x="1902" y="36"/>
                </a:lnTo>
                <a:lnTo>
                  <a:pt x="1908" y="36"/>
                </a:lnTo>
                <a:lnTo>
                  <a:pt x="1914" y="42"/>
                </a:lnTo>
                <a:lnTo>
                  <a:pt x="1920" y="42"/>
                </a:lnTo>
                <a:lnTo>
                  <a:pt x="1932" y="48"/>
                </a:lnTo>
                <a:lnTo>
                  <a:pt x="1950" y="42"/>
                </a:lnTo>
                <a:lnTo>
                  <a:pt x="1956" y="54"/>
                </a:lnTo>
                <a:lnTo>
                  <a:pt x="1968" y="60"/>
                </a:lnTo>
                <a:lnTo>
                  <a:pt x="1974" y="84"/>
                </a:lnTo>
                <a:lnTo>
                  <a:pt x="1968" y="90"/>
                </a:lnTo>
                <a:lnTo>
                  <a:pt x="1968" y="114"/>
                </a:lnTo>
                <a:lnTo>
                  <a:pt x="1974" y="114"/>
                </a:lnTo>
                <a:lnTo>
                  <a:pt x="1980" y="108"/>
                </a:lnTo>
                <a:lnTo>
                  <a:pt x="1992" y="96"/>
                </a:lnTo>
                <a:lnTo>
                  <a:pt x="1980" y="72"/>
                </a:lnTo>
                <a:lnTo>
                  <a:pt x="1974" y="54"/>
                </a:lnTo>
                <a:lnTo>
                  <a:pt x="1974" y="48"/>
                </a:lnTo>
                <a:lnTo>
                  <a:pt x="1962" y="42"/>
                </a:lnTo>
                <a:lnTo>
                  <a:pt x="1962" y="30"/>
                </a:lnTo>
                <a:lnTo>
                  <a:pt x="1956" y="18"/>
                </a:lnTo>
                <a:lnTo>
                  <a:pt x="1956" y="6"/>
                </a:lnTo>
                <a:lnTo>
                  <a:pt x="1962" y="6"/>
                </a:lnTo>
                <a:lnTo>
                  <a:pt x="1968" y="6"/>
                </a:lnTo>
                <a:lnTo>
                  <a:pt x="1974" y="6"/>
                </a:lnTo>
                <a:lnTo>
                  <a:pt x="1980" y="12"/>
                </a:lnTo>
                <a:lnTo>
                  <a:pt x="1986" y="18"/>
                </a:lnTo>
                <a:lnTo>
                  <a:pt x="2004" y="18"/>
                </a:lnTo>
                <a:lnTo>
                  <a:pt x="2010" y="30"/>
                </a:lnTo>
                <a:lnTo>
                  <a:pt x="2016" y="42"/>
                </a:lnTo>
                <a:lnTo>
                  <a:pt x="2022" y="42"/>
                </a:lnTo>
                <a:lnTo>
                  <a:pt x="2028" y="48"/>
                </a:lnTo>
                <a:lnTo>
                  <a:pt x="2028" y="66"/>
                </a:lnTo>
                <a:lnTo>
                  <a:pt x="2028" y="72"/>
                </a:lnTo>
                <a:lnTo>
                  <a:pt x="2028" y="78"/>
                </a:lnTo>
                <a:lnTo>
                  <a:pt x="2034" y="78"/>
                </a:lnTo>
                <a:lnTo>
                  <a:pt x="2070" y="108"/>
                </a:lnTo>
                <a:lnTo>
                  <a:pt x="2070" y="144"/>
                </a:lnTo>
                <a:lnTo>
                  <a:pt x="2082" y="156"/>
                </a:lnTo>
                <a:lnTo>
                  <a:pt x="2100" y="168"/>
                </a:lnTo>
                <a:lnTo>
                  <a:pt x="2130" y="150"/>
                </a:lnTo>
                <a:lnTo>
                  <a:pt x="2136" y="144"/>
                </a:lnTo>
                <a:lnTo>
                  <a:pt x="2148" y="144"/>
                </a:lnTo>
                <a:lnTo>
                  <a:pt x="2154" y="138"/>
                </a:lnTo>
                <a:lnTo>
                  <a:pt x="2160" y="114"/>
                </a:lnTo>
                <a:lnTo>
                  <a:pt x="2172" y="108"/>
                </a:lnTo>
                <a:lnTo>
                  <a:pt x="2184" y="114"/>
                </a:lnTo>
                <a:lnTo>
                  <a:pt x="2196" y="120"/>
                </a:lnTo>
                <a:lnTo>
                  <a:pt x="2202" y="126"/>
                </a:lnTo>
                <a:lnTo>
                  <a:pt x="2202" y="132"/>
                </a:lnTo>
                <a:lnTo>
                  <a:pt x="2208" y="168"/>
                </a:lnTo>
                <a:lnTo>
                  <a:pt x="2208" y="180"/>
                </a:lnTo>
                <a:lnTo>
                  <a:pt x="2220" y="204"/>
                </a:lnTo>
                <a:lnTo>
                  <a:pt x="2220" y="228"/>
                </a:lnTo>
                <a:lnTo>
                  <a:pt x="2226" y="234"/>
                </a:lnTo>
                <a:lnTo>
                  <a:pt x="2238" y="234"/>
                </a:lnTo>
                <a:lnTo>
                  <a:pt x="2250" y="216"/>
                </a:lnTo>
                <a:lnTo>
                  <a:pt x="2262" y="192"/>
                </a:lnTo>
                <a:lnTo>
                  <a:pt x="2262" y="186"/>
                </a:lnTo>
                <a:lnTo>
                  <a:pt x="2256" y="162"/>
                </a:lnTo>
                <a:lnTo>
                  <a:pt x="2262" y="150"/>
                </a:lnTo>
                <a:lnTo>
                  <a:pt x="2268" y="150"/>
                </a:lnTo>
                <a:lnTo>
                  <a:pt x="2274" y="156"/>
                </a:lnTo>
                <a:lnTo>
                  <a:pt x="2280" y="180"/>
                </a:lnTo>
                <a:lnTo>
                  <a:pt x="2286" y="180"/>
                </a:lnTo>
                <a:lnTo>
                  <a:pt x="2292" y="186"/>
                </a:lnTo>
                <a:lnTo>
                  <a:pt x="2292" y="192"/>
                </a:lnTo>
                <a:lnTo>
                  <a:pt x="2286" y="198"/>
                </a:lnTo>
                <a:lnTo>
                  <a:pt x="2292" y="210"/>
                </a:lnTo>
                <a:lnTo>
                  <a:pt x="2292" y="216"/>
                </a:lnTo>
                <a:lnTo>
                  <a:pt x="2286" y="228"/>
                </a:lnTo>
                <a:lnTo>
                  <a:pt x="2280" y="246"/>
                </a:lnTo>
                <a:lnTo>
                  <a:pt x="2280" y="282"/>
                </a:lnTo>
                <a:lnTo>
                  <a:pt x="2274" y="300"/>
                </a:lnTo>
                <a:lnTo>
                  <a:pt x="2274" y="306"/>
                </a:lnTo>
                <a:lnTo>
                  <a:pt x="2286" y="318"/>
                </a:lnTo>
                <a:lnTo>
                  <a:pt x="2298" y="342"/>
                </a:lnTo>
                <a:lnTo>
                  <a:pt x="2304" y="342"/>
                </a:lnTo>
                <a:lnTo>
                  <a:pt x="2310" y="348"/>
                </a:lnTo>
                <a:lnTo>
                  <a:pt x="2316" y="354"/>
                </a:lnTo>
                <a:lnTo>
                  <a:pt x="2316" y="366"/>
                </a:lnTo>
                <a:lnTo>
                  <a:pt x="2310" y="378"/>
                </a:lnTo>
                <a:lnTo>
                  <a:pt x="2322" y="384"/>
                </a:lnTo>
                <a:lnTo>
                  <a:pt x="2328" y="396"/>
                </a:lnTo>
                <a:lnTo>
                  <a:pt x="2310" y="408"/>
                </a:lnTo>
                <a:lnTo>
                  <a:pt x="2304" y="420"/>
                </a:lnTo>
                <a:lnTo>
                  <a:pt x="2310" y="426"/>
                </a:lnTo>
                <a:lnTo>
                  <a:pt x="2310" y="432"/>
                </a:lnTo>
                <a:lnTo>
                  <a:pt x="2316" y="432"/>
                </a:lnTo>
                <a:lnTo>
                  <a:pt x="2322" y="438"/>
                </a:lnTo>
                <a:lnTo>
                  <a:pt x="2328" y="438"/>
                </a:lnTo>
                <a:lnTo>
                  <a:pt x="2340" y="438"/>
                </a:lnTo>
                <a:lnTo>
                  <a:pt x="2328" y="450"/>
                </a:lnTo>
                <a:lnTo>
                  <a:pt x="2322" y="450"/>
                </a:lnTo>
                <a:lnTo>
                  <a:pt x="2310" y="450"/>
                </a:lnTo>
                <a:lnTo>
                  <a:pt x="2304" y="456"/>
                </a:lnTo>
                <a:lnTo>
                  <a:pt x="2298" y="456"/>
                </a:lnTo>
                <a:lnTo>
                  <a:pt x="2292" y="468"/>
                </a:lnTo>
                <a:lnTo>
                  <a:pt x="2286" y="474"/>
                </a:lnTo>
                <a:lnTo>
                  <a:pt x="2292" y="480"/>
                </a:lnTo>
                <a:lnTo>
                  <a:pt x="2298" y="492"/>
                </a:lnTo>
                <a:lnTo>
                  <a:pt x="2298" y="498"/>
                </a:lnTo>
                <a:lnTo>
                  <a:pt x="2292" y="504"/>
                </a:lnTo>
                <a:lnTo>
                  <a:pt x="2286" y="516"/>
                </a:lnTo>
                <a:lnTo>
                  <a:pt x="2268" y="522"/>
                </a:lnTo>
                <a:lnTo>
                  <a:pt x="2256" y="540"/>
                </a:lnTo>
                <a:lnTo>
                  <a:pt x="2262" y="546"/>
                </a:lnTo>
                <a:lnTo>
                  <a:pt x="2280" y="552"/>
                </a:lnTo>
                <a:lnTo>
                  <a:pt x="2286" y="552"/>
                </a:lnTo>
                <a:lnTo>
                  <a:pt x="2292" y="552"/>
                </a:lnTo>
                <a:lnTo>
                  <a:pt x="2304" y="546"/>
                </a:lnTo>
                <a:lnTo>
                  <a:pt x="2310" y="546"/>
                </a:lnTo>
                <a:lnTo>
                  <a:pt x="2316" y="540"/>
                </a:lnTo>
                <a:lnTo>
                  <a:pt x="2322" y="546"/>
                </a:lnTo>
                <a:lnTo>
                  <a:pt x="2316" y="558"/>
                </a:lnTo>
                <a:lnTo>
                  <a:pt x="2316" y="570"/>
                </a:lnTo>
                <a:lnTo>
                  <a:pt x="2298" y="582"/>
                </a:lnTo>
                <a:lnTo>
                  <a:pt x="2304" y="588"/>
                </a:lnTo>
                <a:lnTo>
                  <a:pt x="2316" y="582"/>
                </a:lnTo>
                <a:lnTo>
                  <a:pt x="2334" y="576"/>
                </a:lnTo>
                <a:lnTo>
                  <a:pt x="2352" y="558"/>
                </a:lnTo>
                <a:lnTo>
                  <a:pt x="2370" y="546"/>
                </a:lnTo>
                <a:lnTo>
                  <a:pt x="2370" y="552"/>
                </a:lnTo>
                <a:lnTo>
                  <a:pt x="2364" y="564"/>
                </a:lnTo>
                <a:lnTo>
                  <a:pt x="2346" y="594"/>
                </a:lnTo>
                <a:lnTo>
                  <a:pt x="2352" y="606"/>
                </a:lnTo>
                <a:lnTo>
                  <a:pt x="2358" y="606"/>
                </a:lnTo>
                <a:lnTo>
                  <a:pt x="2370" y="606"/>
                </a:lnTo>
                <a:lnTo>
                  <a:pt x="2394" y="618"/>
                </a:lnTo>
                <a:lnTo>
                  <a:pt x="2400" y="618"/>
                </a:lnTo>
                <a:lnTo>
                  <a:pt x="2424" y="612"/>
                </a:lnTo>
                <a:lnTo>
                  <a:pt x="2430" y="618"/>
                </a:lnTo>
                <a:lnTo>
                  <a:pt x="2430" y="624"/>
                </a:lnTo>
                <a:lnTo>
                  <a:pt x="2424" y="642"/>
                </a:lnTo>
                <a:lnTo>
                  <a:pt x="2424" y="666"/>
                </a:lnTo>
                <a:lnTo>
                  <a:pt x="2430" y="678"/>
                </a:lnTo>
                <a:lnTo>
                  <a:pt x="2430" y="690"/>
                </a:lnTo>
                <a:lnTo>
                  <a:pt x="2406" y="702"/>
                </a:lnTo>
                <a:lnTo>
                  <a:pt x="2370" y="708"/>
                </a:lnTo>
                <a:lnTo>
                  <a:pt x="2352" y="714"/>
                </a:lnTo>
                <a:lnTo>
                  <a:pt x="2358" y="720"/>
                </a:lnTo>
                <a:lnTo>
                  <a:pt x="2376" y="720"/>
                </a:lnTo>
                <a:lnTo>
                  <a:pt x="2382" y="714"/>
                </a:lnTo>
                <a:lnTo>
                  <a:pt x="2412" y="714"/>
                </a:lnTo>
                <a:lnTo>
                  <a:pt x="2418" y="714"/>
                </a:lnTo>
                <a:lnTo>
                  <a:pt x="2418" y="726"/>
                </a:lnTo>
                <a:lnTo>
                  <a:pt x="2418" y="732"/>
                </a:lnTo>
                <a:lnTo>
                  <a:pt x="2430" y="744"/>
                </a:lnTo>
                <a:lnTo>
                  <a:pt x="2430" y="768"/>
                </a:lnTo>
                <a:lnTo>
                  <a:pt x="2436" y="774"/>
                </a:lnTo>
                <a:lnTo>
                  <a:pt x="2442" y="774"/>
                </a:lnTo>
                <a:lnTo>
                  <a:pt x="2448" y="780"/>
                </a:lnTo>
                <a:lnTo>
                  <a:pt x="2460" y="792"/>
                </a:lnTo>
                <a:lnTo>
                  <a:pt x="2472" y="804"/>
                </a:lnTo>
                <a:lnTo>
                  <a:pt x="2484" y="810"/>
                </a:lnTo>
                <a:lnTo>
                  <a:pt x="2484" y="816"/>
                </a:lnTo>
                <a:lnTo>
                  <a:pt x="2490" y="816"/>
                </a:lnTo>
                <a:lnTo>
                  <a:pt x="2496" y="816"/>
                </a:lnTo>
                <a:lnTo>
                  <a:pt x="2508" y="822"/>
                </a:lnTo>
                <a:lnTo>
                  <a:pt x="2502" y="828"/>
                </a:lnTo>
                <a:lnTo>
                  <a:pt x="2490" y="834"/>
                </a:lnTo>
                <a:lnTo>
                  <a:pt x="2484" y="840"/>
                </a:lnTo>
                <a:lnTo>
                  <a:pt x="2484" y="852"/>
                </a:lnTo>
                <a:lnTo>
                  <a:pt x="2490" y="858"/>
                </a:lnTo>
                <a:lnTo>
                  <a:pt x="2496" y="876"/>
                </a:lnTo>
                <a:lnTo>
                  <a:pt x="2496" y="882"/>
                </a:lnTo>
                <a:lnTo>
                  <a:pt x="2448" y="918"/>
                </a:lnTo>
                <a:lnTo>
                  <a:pt x="2466" y="924"/>
                </a:lnTo>
                <a:lnTo>
                  <a:pt x="2472" y="936"/>
                </a:lnTo>
                <a:lnTo>
                  <a:pt x="2460" y="954"/>
                </a:lnTo>
                <a:lnTo>
                  <a:pt x="2442" y="972"/>
                </a:lnTo>
                <a:lnTo>
                  <a:pt x="2436" y="996"/>
                </a:lnTo>
                <a:lnTo>
                  <a:pt x="2436" y="1002"/>
                </a:lnTo>
                <a:lnTo>
                  <a:pt x="2430" y="1020"/>
                </a:lnTo>
                <a:lnTo>
                  <a:pt x="2436" y="1032"/>
                </a:lnTo>
                <a:lnTo>
                  <a:pt x="2466" y="1026"/>
                </a:lnTo>
                <a:lnTo>
                  <a:pt x="2472" y="1026"/>
                </a:lnTo>
                <a:lnTo>
                  <a:pt x="2484" y="1056"/>
                </a:lnTo>
                <a:lnTo>
                  <a:pt x="2478" y="1074"/>
                </a:lnTo>
                <a:lnTo>
                  <a:pt x="2436" y="1098"/>
                </a:lnTo>
                <a:lnTo>
                  <a:pt x="2442" y="1104"/>
                </a:lnTo>
                <a:lnTo>
                  <a:pt x="2448" y="1104"/>
                </a:lnTo>
                <a:lnTo>
                  <a:pt x="2472" y="1098"/>
                </a:lnTo>
                <a:lnTo>
                  <a:pt x="2496" y="1074"/>
                </a:lnTo>
                <a:lnTo>
                  <a:pt x="2502" y="1026"/>
                </a:lnTo>
                <a:lnTo>
                  <a:pt x="2502" y="1020"/>
                </a:lnTo>
                <a:lnTo>
                  <a:pt x="2508" y="1020"/>
                </a:lnTo>
                <a:lnTo>
                  <a:pt x="2514" y="1014"/>
                </a:lnTo>
                <a:lnTo>
                  <a:pt x="2526" y="1026"/>
                </a:lnTo>
                <a:lnTo>
                  <a:pt x="2538" y="1026"/>
                </a:lnTo>
                <a:lnTo>
                  <a:pt x="2544" y="1026"/>
                </a:lnTo>
                <a:lnTo>
                  <a:pt x="2550" y="1026"/>
                </a:lnTo>
                <a:lnTo>
                  <a:pt x="2556" y="1032"/>
                </a:lnTo>
                <a:lnTo>
                  <a:pt x="2562" y="1032"/>
                </a:lnTo>
                <a:lnTo>
                  <a:pt x="2562" y="1044"/>
                </a:lnTo>
                <a:lnTo>
                  <a:pt x="2568" y="1068"/>
                </a:lnTo>
                <a:lnTo>
                  <a:pt x="2568" y="1086"/>
                </a:lnTo>
                <a:lnTo>
                  <a:pt x="2562" y="1104"/>
                </a:lnTo>
                <a:lnTo>
                  <a:pt x="2556" y="1110"/>
                </a:lnTo>
                <a:lnTo>
                  <a:pt x="2550" y="1104"/>
                </a:lnTo>
                <a:lnTo>
                  <a:pt x="2538" y="1092"/>
                </a:lnTo>
                <a:lnTo>
                  <a:pt x="2532" y="1086"/>
                </a:lnTo>
                <a:lnTo>
                  <a:pt x="2526" y="1116"/>
                </a:lnTo>
                <a:lnTo>
                  <a:pt x="2520" y="1122"/>
                </a:lnTo>
                <a:lnTo>
                  <a:pt x="2526" y="1140"/>
                </a:lnTo>
                <a:lnTo>
                  <a:pt x="2538" y="1164"/>
                </a:lnTo>
                <a:lnTo>
                  <a:pt x="2556" y="1170"/>
                </a:lnTo>
                <a:lnTo>
                  <a:pt x="2568" y="1164"/>
                </a:lnTo>
                <a:lnTo>
                  <a:pt x="2592" y="1170"/>
                </a:lnTo>
                <a:lnTo>
                  <a:pt x="2610" y="1170"/>
                </a:lnTo>
                <a:lnTo>
                  <a:pt x="2622" y="1176"/>
                </a:lnTo>
                <a:lnTo>
                  <a:pt x="2628" y="1182"/>
                </a:lnTo>
                <a:lnTo>
                  <a:pt x="2622" y="1194"/>
                </a:lnTo>
                <a:lnTo>
                  <a:pt x="2640" y="1230"/>
                </a:lnTo>
                <a:lnTo>
                  <a:pt x="2640" y="1236"/>
                </a:lnTo>
                <a:lnTo>
                  <a:pt x="2646" y="1242"/>
                </a:lnTo>
                <a:lnTo>
                  <a:pt x="2640" y="1254"/>
                </a:lnTo>
                <a:lnTo>
                  <a:pt x="2634" y="1254"/>
                </a:lnTo>
                <a:lnTo>
                  <a:pt x="2580" y="1236"/>
                </a:lnTo>
                <a:lnTo>
                  <a:pt x="2562" y="1236"/>
                </a:lnTo>
                <a:lnTo>
                  <a:pt x="2544" y="1230"/>
                </a:lnTo>
                <a:lnTo>
                  <a:pt x="2526" y="1230"/>
                </a:lnTo>
                <a:lnTo>
                  <a:pt x="2508" y="1224"/>
                </a:lnTo>
                <a:lnTo>
                  <a:pt x="2478" y="1224"/>
                </a:lnTo>
                <a:lnTo>
                  <a:pt x="2436" y="1218"/>
                </a:lnTo>
                <a:lnTo>
                  <a:pt x="2424" y="1218"/>
                </a:lnTo>
                <a:lnTo>
                  <a:pt x="2430" y="1224"/>
                </a:lnTo>
                <a:lnTo>
                  <a:pt x="2424" y="1248"/>
                </a:lnTo>
                <a:lnTo>
                  <a:pt x="2448" y="1248"/>
                </a:lnTo>
                <a:lnTo>
                  <a:pt x="2448" y="1254"/>
                </a:lnTo>
                <a:lnTo>
                  <a:pt x="2460" y="1248"/>
                </a:lnTo>
                <a:lnTo>
                  <a:pt x="2472" y="1248"/>
                </a:lnTo>
                <a:lnTo>
                  <a:pt x="2496" y="1248"/>
                </a:lnTo>
                <a:lnTo>
                  <a:pt x="2514" y="1266"/>
                </a:lnTo>
                <a:lnTo>
                  <a:pt x="2550" y="1266"/>
                </a:lnTo>
                <a:lnTo>
                  <a:pt x="2562" y="1272"/>
                </a:lnTo>
                <a:lnTo>
                  <a:pt x="2574" y="1278"/>
                </a:lnTo>
                <a:lnTo>
                  <a:pt x="2574" y="1284"/>
                </a:lnTo>
                <a:lnTo>
                  <a:pt x="2580" y="1290"/>
                </a:lnTo>
                <a:lnTo>
                  <a:pt x="2568" y="1296"/>
                </a:lnTo>
                <a:lnTo>
                  <a:pt x="2550" y="1302"/>
                </a:lnTo>
                <a:lnTo>
                  <a:pt x="2514" y="1296"/>
                </a:lnTo>
                <a:lnTo>
                  <a:pt x="2514" y="1308"/>
                </a:lnTo>
                <a:lnTo>
                  <a:pt x="2550" y="1314"/>
                </a:lnTo>
                <a:lnTo>
                  <a:pt x="2550" y="1320"/>
                </a:lnTo>
                <a:lnTo>
                  <a:pt x="2574" y="1320"/>
                </a:lnTo>
                <a:lnTo>
                  <a:pt x="2598" y="1326"/>
                </a:lnTo>
                <a:lnTo>
                  <a:pt x="2598" y="1332"/>
                </a:lnTo>
                <a:lnTo>
                  <a:pt x="2604" y="1338"/>
                </a:lnTo>
                <a:lnTo>
                  <a:pt x="2610" y="1362"/>
                </a:lnTo>
                <a:lnTo>
                  <a:pt x="2598" y="1398"/>
                </a:lnTo>
                <a:lnTo>
                  <a:pt x="2598" y="1410"/>
                </a:lnTo>
                <a:lnTo>
                  <a:pt x="2586" y="1428"/>
                </a:lnTo>
                <a:lnTo>
                  <a:pt x="2574" y="1434"/>
                </a:lnTo>
                <a:lnTo>
                  <a:pt x="2568" y="1434"/>
                </a:lnTo>
                <a:lnTo>
                  <a:pt x="2550" y="1428"/>
                </a:lnTo>
                <a:lnTo>
                  <a:pt x="2538" y="1440"/>
                </a:lnTo>
                <a:lnTo>
                  <a:pt x="2556" y="1446"/>
                </a:lnTo>
                <a:lnTo>
                  <a:pt x="2556" y="1452"/>
                </a:lnTo>
                <a:lnTo>
                  <a:pt x="2562" y="1464"/>
                </a:lnTo>
                <a:lnTo>
                  <a:pt x="2568" y="1476"/>
                </a:lnTo>
                <a:lnTo>
                  <a:pt x="2556" y="1488"/>
                </a:lnTo>
                <a:lnTo>
                  <a:pt x="2538" y="1512"/>
                </a:lnTo>
                <a:lnTo>
                  <a:pt x="2484" y="1548"/>
                </a:lnTo>
                <a:lnTo>
                  <a:pt x="2460" y="1554"/>
                </a:lnTo>
                <a:lnTo>
                  <a:pt x="2442" y="1560"/>
                </a:lnTo>
                <a:lnTo>
                  <a:pt x="2394" y="1548"/>
                </a:lnTo>
                <a:lnTo>
                  <a:pt x="2382" y="1554"/>
                </a:lnTo>
                <a:lnTo>
                  <a:pt x="2376" y="1566"/>
                </a:lnTo>
                <a:lnTo>
                  <a:pt x="2388" y="1578"/>
                </a:lnTo>
                <a:lnTo>
                  <a:pt x="2400" y="1578"/>
                </a:lnTo>
                <a:lnTo>
                  <a:pt x="2418" y="1572"/>
                </a:lnTo>
                <a:lnTo>
                  <a:pt x="2418" y="1602"/>
                </a:lnTo>
                <a:lnTo>
                  <a:pt x="2442" y="1632"/>
                </a:lnTo>
                <a:lnTo>
                  <a:pt x="2442" y="1644"/>
                </a:lnTo>
                <a:lnTo>
                  <a:pt x="2430" y="1650"/>
                </a:lnTo>
                <a:lnTo>
                  <a:pt x="2418" y="1650"/>
                </a:lnTo>
                <a:lnTo>
                  <a:pt x="2406" y="1650"/>
                </a:lnTo>
                <a:lnTo>
                  <a:pt x="2376" y="1674"/>
                </a:lnTo>
                <a:lnTo>
                  <a:pt x="2358" y="1674"/>
                </a:lnTo>
                <a:lnTo>
                  <a:pt x="2346" y="1686"/>
                </a:lnTo>
                <a:lnTo>
                  <a:pt x="2316" y="1680"/>
                </a:lnTo>
                <a:lnTo>
                  <a:pt x="2304" y="1662"/>
                </a:lnTo>
                <a:lnTo>
                  <a:pt x="2286" y="1662"/>
                </a:lnTo>
                <a:lnTo>
                  <a:pt x="2268" y="1644"/>
                </a:lnTo>
                <a:lnTo>
                  <a:pt x="2268" y="1632"/>
                </a:lnTo>
                <a:lnTo>
                  <a:pt x="2250" y="1638"/>
                </a:lnTo>
                <a:lnTo>
                  <a:pt x="2250" y="1602"/>
                </a:lnTo>
                <a:lnTo>
                  <a:pt x="2238" y="1584"/>
                </a:lnTo>
                <a:lnTo>
                  <a:pt x="2232" y="1566"/>
                </a:lnTo>
                <a:lnTo>
                  <a:pt x="2238" y="1542"/>
                </a:lnTo>
                <a:lnTo>
                  <a:pt x="2232" y="1536"/>
                </a:lnTo>
                <a:lnTo>
                  <a:pt x="2238" y="1512"/>
                </a:lnTo>
                <a:lnTo>
                  <a:pt x="2238" y="1500"/>
                </a:lnTo>
                <a:lnTo>
                  <a:pt x="2226" y="1488"/>
                </a:lnTo>
                <a:lnTo>
                  <a:pt x="2220" y="1470"/>
                </a:lnTo>
                <a:lnTo>
                  <a:pt x="2214" y="1464"/>
                </a:lnTo>
                <a:lnTo>
                  <a:pt x="2208" y="1476"/>
                </a:lnTo>
                <a:lnTo>
                  <a:pt x="2178" y="1464"/>
                </a:lnTo>
                <a:lnTo>
                  <a:pt x="2172" y="1464"/>
                </a:lnTo>
                <a:lnTo>
                  <a:pt x="2196" y="1482"/>
                </a:lnTo>
                <a:lnTo>
                  <a:pt x="2202" y="1500"/>
                </a:lnTo>
                <a:lnTo>
                  <a:pt x="2208" y="1512"/>
                </a:lnTo>
                <a:lnTo>
                  <a:pt x="2220" y="1530"/>
                </a:lnTo>
                <a:lnTo>
                  <a:pt x="2220" y="1554"/>
                </a:lnTo>
                <a:lnTo>
                  <a:pt x="2214" y="1572"/>
                </a:lnTo>
                <a:lnTo>
                  <a:pt x="2208" y="1584"/>
                </a:lnTo>
                <a:lnTo>
                  <a:pt x="2196" y="1596"/>
                </a:lnTo>
                <a:lnTo>
                  <a:pt x="2190" y="1596"/>
                </a:lnTo>
                <a:lnTo>
                  <a:pt x="2178" y="1608"/>
                </a:lnTo>
                <a:lnTo>
                  <a:pt x="2184" y="1620"/>
                </a:lnTo>
                <a:lnTo>
                  <a:pt x="2184" y="1650"/>
                </a:lnTo>
                <a:lnTo>
                  <a:pt x="2178" y="1656"/>
                </a:lnTo>
                <a:lnTo>
                  <a:pt x="2178" y="1662"/>
                </a:lnTo>
                <a:lnTo>
                  <a:pt x="2172" y="1674"/>
                </a:lnTo>
                <a:lnTo>
                  <a:pt x="2178" y="1692"/>
                </a:lnTo>
                <a:lnTo>
                  <a:pt x="2184" y="1692"/>
                </a:lnTo>
                <a:lnTo>
                  <a:pt x="2220" y="1728"/>
                </a:lnTo>
                <a:lnTo>
                  <a:pt x="2244" y="1734"/>
                </a:lnTo>
                <a:lnTo>
                  <a:pt x="2250" y="1740"/>
                </a:lnTo>
                <a:lnTo>
                  <a:pt x="2280" y="1740"/>
                </a:lnTo>
                <a:lnTo>
                  <a:pt x="2298" y="1752"/>
                </a:lnTo>
                <a:lnTo>
                  <a:pt x="2316" y="1776"/>
                </a:lnTo>
                <a:lnTo>
                  <a:pt x="2322" y="1794"/>
                </a:lnTo>
                <a:lnTo>
                  <a:pt x="2322" y="1806"/>
                </a:lnTo>
                <a:lnTo>
                  <a:pt x="2322" y="1812"/>
                </a:lnTo>
                <a:lnTo>
                  <a:pt x="2298" y="1830"/>
                </a:lnTo>
                <a:lnTo>
                  <a:pt x="2286" y="1836"/>
                </a:lnTo>
                <a:lnTo>
                  <a:pt x="2256" y="1854"/>
                </a:lnTo>
                <a:lnTo>
                  <a:pt x="2244" y="1854"/>
                </a:lnTo>
                <a:lnTo>
                  <a:pt x="2226" y="1860"/>
                </a:lnTo>
                <a:lnTo>
                  <a:pt x="2220" y="1878"/>
                </a:lnTo>
                <a:lnTo>
                  <a:pt x="2220" y="1884"/>
                </a:lnTo>
                <a:lnTo>
                  <a:pt x="2238" y="1884"/>
                </a:lnTo>
                <a:lnTo>
                  <a:pt x="2256" y="1878"/>
                </a:lnTo>
                <a:lnTo>
                  <a:pt x="2286" y="1854"/>
                </a:lnTo>
                <a:lnTo>
                  <a:pt x="2322" y="1854"/>
                </a:lnTo>
                <a:lnTo>
                  <a:pt x="2340" y="1860"/>
                </a:lnTo>
                <a:lnTo>
                  <a:pt x="2352" y="1866"/>
                </a:lnTo>
                <a:lnTo>
                  <a:pt x="2358" y="1872"/>
                </a:lnTo>
                <a:lnTo>
                  <a:pt x="2328" y="1956"/>
                </a:lnTo>
                <a:lnTo>
                  <a:pt x="2310" y="1980"/>
                </a:lnTo>
                <a:lnTo>
                  <a:pt x="2280" y="1998"/>
                </a:lnTo>
                <a:lnTo>
                  <a:pt x="2268" y="2010"/>
                </a:lnTo>
                <a:lnTo>
                  <a:pt x="2250" y="2016"/>
                </a:lnTo>
                <a:lnTo>
                  <a:pt x="2226" y="2022"/>
                </a:lnTo>
                <a:lnTo>
                  <a:pt x="2220" y="2034"/>
                </a:lnTo>
                <a:lnTo>
                  <a:pt x="2166" y="2052"/>
                </a:lnTo>
                <a:lnTo>
                  <a:pt x="2142" y="2052"/>
                </a:lnTo>
                <a:lnTo>
                  <a:pt x="2136" y="2058"/>
                </a:lnTo>
                <a:lnTo>
                  <a:pt x="2136" y="2064"/>
                </a:lnTo>
                <a:lnTo>
                  <a:pt x="2160" y="2070"/>
                </a:lnTo>
                <a:lnTo>
                  <a:pt x="2178" y="2064"/>
                </a:lnTo>
                <a:lnTo>
                  <a:pt x="2196" y="2070"/>
                </a:lnTo>
                <a:lnTo>
                  <a:pt x="2214" y="2064"/>
                </a:lnTo>
                <a:lnTo>
                  <a:pt x="2262" y="2052"/>
                </a:lnTo>
                <a:lnTo>
                  <a:pt x="2274" y="2052"/>
                </a:lnTo>
                <a:lnTo>
                  <a:pt x="2286" y="2070"/>
                </a:lnTo>
                <a:lnTo>
                  <a:pt x="2286" y="2088"/>
                </a:lnTo>
                <a:lnTo>
                  <a:pt x="2286" y="2106"/>
                </a:lnTo>
                <a:lnTo>
                  <a:pt x="2286" y="2130"/>
                </a:lnTo>
                <a:lnTo>
                  <a:pt x="2292" y="2148"/>
                </a:lnTo>
                <a:lnTo>
                  <a:pt x="2298" y="2160"/>
                </a:lnTo>
                <a:lnTo>
                  <a:pt x="2310" y="2166"/>
                </a:lnTo>
                <a:lnTo>
                  <a:pt x="2304" y="2178"/>
                </a:lnTo>
                <a:lnTo>
                  <a:pt x="2286" y="2196"/>
                </a:lnTo>
                <a:lnTo>
                  <a:pt x="2292" y="2220"/>
                </a:lnTo>
                <a:lnTo>
                  <a:pt x="2286" y="2238"/>
                </a:lnTo>
                <a:lnTo>
                  <a:pt x="2274" y="2256"/>
                </a:lnTo>
                <a:lnTo>
                  <a:pt x="2256" y="2304"/>
                </a:lnTo>
                <a:lnTo>
                  <a:pt x="2238" y="2334"/>
                </a:lnTo>
                <a:lnTo>
                  <a:pt x="2220" y="2352"/>
                </a:lnTo>
                <a:lnTo>
                  <a:pt x="2214" y="2382"/>
                </a:lnTo>
                <a:lnTo>
                  <a:pt x="2220" y="2394"/>
                </a:lnTo>
                <a:lnTo>
                  <a:pt x="2214" y="2412"/>
                </a:lnTo>
                <a:lnTo>
                  <a:pt x="2214" y="2424"/>
                </a:lnTo>
                <a:lnTo>
                  <a:pt x="2214" y="2436"/>
                </a:lnTo>
                <a:lnTo>
                  <a:pt x="2214" y="2448"/>
                </a:lnTo>
                <a:lnTo>
                  <a:pt x="2214" y="2478"/>
                </a:lnTo>
                <a:lnTo>
                  <a:pt x="2208" y="2496"/>
                </a:lnTo>
                <a:lnTo>
                  <a:pt x="2208" y="2556"/>
                </a:lnTo>
                <a:lnTo>
                  <a:pt x="2190" y="2592"/>
                </a:lnTo>
                <a:lnTo>
                  <a:pt x="2178" y="2622"/>
                </a:lnTo>
                <a:lnTo>
                  <a:pt x="2184" y="2640"/>
                </a:lnTo>
                <a:lnTo>
                  <a:pt x="2196" y="2640"/>
                </a:lnTo>
                <a:lnTo>
                  <a:pt x="2208" y="2610"/>
                </a:lnTo>
                <a:lnTo>
                  <a:pt x="2220" y="2574"/>
                </a:lnTo>
                <a:lnTo>
                  <a:pt x="2226" y="2526"/>
                </a:lnTo>
                <a:lnTo>
                  <a:pt x="2238" y="2496"/>
                </a:lnTo>
                <a:lnTo>
                  <a:pt x="2232" y="2484"/>
                </a:lnTo>
                <a:lnTo>
                  <a:pt x="2232" y="2466"/>
                </a:lnTo>
                <a:lnTo>
                  <a:pt x="2250" y="2448"/>
                </a:lnTo>
                <a:lnTo>
                  <a:pt x="2268" y="2436"/>
                </a:lnTo>
                <a:lnTo>
                  <a:pt x="2268" y="2424"/>
                </a:lnTo>
                <a:lnTo>
                  <a:pt x="2304" y="2388"/>
                </a:lnTo>
                <a:lnTo>
                  <a:pt x="2322" y="2358"/>
                </a:lnTo>
                <a:lnTo>
                  <a:pt x="2328" y="2352"/>
                </a:lnTo>
                <a:lnTo>
                  <a:pt x="2358" y="2244"/>
                </a:lnTo>
                <a:lnTo>
                  <a:pt x="2370" y="2226"/>
                </a:lnTo>
                <a:lnTo>
                  <a:pt x="2382" y="2178"/>
                </a:lnTo>
                <a:lnTo>
                  <a:pt x="2400" y="2172"/>
                </a:lnTo>
                <a:lnTo>
                  <a:pt x="2406" y="2166"/>
                </a:lnTo>
                <a:lnTo>
                  <a:pt x="2412" y="2178"/>
                </a:lnTo>
                <a:lnTo>
                  <a:pt x="2418" y="2196"/>
                </a:lnTo>
                <a:lnTo>
                  <a:pt x="2406" y="2250"/>
                </a:lnTo>
                <a:lnTo>
                  <a:pt x="2406" y="2286"/>
                </a:lnTo>
                <a:lnTo>
                  <a:pt x="2400" y="2370"/>
                </a:lnTo>
                <a:lnTo>
                  <a:pt x="2418" y="2382"/>
                </a:lnTo>
                <a:lnTo>
                  <a:pt x="2436" y="2388"/>
                </a:lnTo>
                <a:lnTo>
                  <a:pt x="2430" y="2400"/>
                </a:lnTo>
                <a:lnTo>
                  <a:pt x="2436" y="2400"/>
                </a:lnTo>
                <a:lnTo>
                  <a:pt x="2442" y="2394"/>
                </a:lnTo>
                <a:lnTo>
                  <a:pt x="2442" y="2370"/>
                </a:lnTo>
                <a:lnTo>
                  <a:pt x="2442" y="2340"/>
                </a:lnTo>
                <a:lnTo>
                  <a:pt x="2442" y="2316"/>
                </a:lnTo>
                <a:lnTo>
                  <a:pt x="2454" y="2262"/>
                </a:lnTo>
                <a:lnTo>
                  <a:pt x="2454" y="2232"/>
                </a:lnTo>
                <a:lnTo>
                  <a:pt x="2466" y="2220"/>
                </a:lnTo>
                <a:lnTo>
                  <a:pt x="2466" y="2196"/>
                </a:lnTo>
                <a:lnTo>
                  <a:pt x="2478" y="2154"/>
                </a:lnTo>
                <a:lnTo>
                  <a:pt x="2502" y="2118"/>
                </a:lnTo>
                <a:lnTo>
                  <a:pt x="2514" y="2100"/>
                </a:lnTo>
                <a:lnTo>
                  <a:pt x="2526" y="2082"/>
                </a:lnTo>
                <a:lnTo>
                  <a:pt x="2562" y="2052"/>
                </a:lnTo>
                <a:lnTo>
                  <a:pt x="2580" y="2016"/>
                </a:lnTo>
                <a:lnTo>
                  <a:pt x="2634" y="1980"/>
                </a:lnTo>
                <a:lnTo>
                  <a:pt x="2646" y="1980"/>
                </a:lnTo>
                <a:lnTo>
                  <a:pt x="2694" y="1962"/>
                </a:lnTo>
                <a:lnTo>
                  <a:pt x="2700" y="1962"/>
                </a:lnTo>
                <a:lnTo>
                  <a:pt x="2706" y="1968"/>
                </a:lnTo>
                <a:lnTo>
                  <a:pt x="2718" y="1968"/>
                </a:lnTo>
                <a:lnTo>
                  <a:pt x="2730" y="1956"/>
                </a:lnTo>
                <a:lnTo>
                  <a:pt x="2742" y="1944"/>
                </a:lnTo>
                <a:lnTo>
                  <a:pt x="2748" y="1944"/>
                </a:lnTo>
                <a:lnTo>
                  <a:pt x="2760" y="1944"/>
                </a:lnTo>
                <a:lnTo>
                  <a:pt x="2790" y="1926"/>
                </a:lnTo>
                <a:lnTo>
                  <a:pt x="2796" y="1926"/>
                </a:lnTo>
                <a:lnTo>
                  <a:pt x="2814" y="1914"/>
                </a:lnTo>
                <a:lnTo>
                  <a:pt x="2820" y="1932"/>
                </a:lnTo>
                <a:lnTo>
                  <a:pt x="2826" y="1932"/>
                </a:lnTo>
                <a:lnTo>
                  <a:pt x="2832" y="1920"/>
                </a:lnTo>
                <a:lnTo>
                  <a:pt x="2838" y="1920"/>
                </a:lnTo>
                <a:lnTo>
                  <a:pt x="2844" y="1932"/>
                </a:lnTo>
                <a:lnTo>
                  <a:pt x="2844" y="1950"/>
                </a:lnTo>
                <a:lnTo>
                  <a:pt x="2862" y="1956"/>
                </a:lnTo>
                <a:lnTo>
                  <a:pt x="2862" y="1962"/>
                </a:lnTo>
                <a:lnTo>
                  <a:pt x="2850" y="1968"/>
                </a:lnTo>
                <a:lnTo>
                  <a:pt x="2832" y="1992"/>
                </a:lnTo>
                <a:lnTo>
                  <a:pt x="2832" y="2004"/>
                </a:lnTo>
                <a:lnTo>
                  <a:pt x="2808" y="2052"/>
                </a:lnTo>
                <a:lnTo>
                  <a:pt x="2802" y="2064"/>
                </a:lnTo>
                <a:lnTo>
                  <a:pt x="2790" y="2088"/>
                </a:lnTo>
                <a:lnTo>
                  <a:pt x="2778" y="2100"/>
                </a:lnTo>
                <a:lnTo>
                  <a:pt x="2754" y="2142"/>
                </a:lnTo>
                <a:lnTo>
                  <a:pt x="2748" y="2154"/>
                </a:lnTo>
                <a:lnTo>
                  <a:pt x="2754" y="2160"/>
                </a:lnTo>
                <a:lnTo>
                  <a:pt x="2760" y="2166"/>
                </a:lnTo>
                <a:lnTo>
                  <a:pt x="2766" y="2166"/>
                </a:lnTo>
                <a:lnTo>
                  <a:pt x="2772" y="2160"/>
                </a:lnTo>
                <a:lnTo>
                  <a:pt x="2778" y="2142"/>
                </a:lnTo>
                <a:lnTo>
                  <a:pt x="2772" y="2130"/>
                </a:lnTo>
                <a:lnTo>
                  <a:pt x="2778" y="2124"/>
                </a:lnTo>
                <a:lnTo>
                  <a:pt x="2784" y="2118"/>
                </a:lnTo>
                <a:lnTo>
                  <a:pt x="2784" y="2112"/>
                </a:lnTo>
                <a:lnTo>
                  <a:pt x="2784" y="2106"/>
                </a:lnTo>
                <a:lnTo>
                  <a:pt x="2796" y="2100"/>
                </a:lnTo>
                <a:lnTo>
                  <a:pt x="2814" y="2106"/>
                </a:lnTo>
                <a:lnTo>
                  <a:pt x="2826" y="2124"/>
                </a:lnTo>
                <a:lnTo>
                  <a:pt x="2796" y="2172"/>
                </a:lnTo>
                <a:lnTo>
                  <a:pt x="2778" y="2190"/>
                </a:lnTo>
                <a:lnTo>
                  <a:pt x="2784" y="2202"/>
                </a:lnTo>
                <a:lnTo>
                  <a:pt x="2796" y="2208"/>
                </a:lnTo>
                <a:lnTo>
                  <a:pt x="2796" y="2214"/>
                </a:lnTo>
                <a:lnTo>
                  <a:pt x="2790" y="2226"/>
                </a:lnTo>
                <a:lnTo>
                  <a:pt x="2790" y="2256"/>
                </a:lnTo>
                <a:lnTo>
                  <a:pt x="2790" y="2274"/>
                </a:lnTo>
                <a:lnTo>
                  <a:pt x="2802" y="2286"/>
                </a:lnTo>
                <a:lnTo>
                  <a:pt x="2820" y="2292"/>
                </a:lnTo>
                <a:lnTo>
                  <a:pt x="2826" y="2286"/>
                </a:lnTo>
                <a:lnTo>
                  <a:pt x="2844" y="2280"/>
                </a:lnTo>
                <a:lnTo>
                  <a:pt x="2850" y="2268"/>
                </a:lnTo>
                <a:lnTo>
                  <a:pt x="2862" y="2262"/>
                </a:lnTo>
                <a:lnTo>
                  <a:pt x="2898" y="2226"/>
                </a:lnTo>
                <a:lnTo>
                  <a:pt x="2898" y="2220"/>
                </a:lnTo>
                <a:lnTo>
                  <a:pt x="2892" y="2202"/>
                </a:lnTo>
                <a:lnTo>
                  <a:pt x="2898" y="2184"/>
                </a:lnTo>
                <a:lnTo>
                  <a:pt x="2892" y="2172"/>
                </a:lnTo>
                <a:lnTo>
                  <a:pt x="2880" y="2160"/>
                </a:lnTo>
                <a:lnTo>
                  <a:pt x="2862" y="2154"/>
                </a:lnTo>
                <a:lnTo>
                  <a:pt x="2850" y="2160"/>
                </a:lnTo>
                <a:lnTo>
                  <a:pt x="2844" y="2148"/>
                </a:lnTo>
                <a:lnTo>
                  <a:pt x="2838" y="2148"/>
                </a:lnTo>
                <a:lnTo>
                  <a:pt x="2838" y="2142"/>
                </a:lnTo>
                <a:lnTo>
                  <a:pt x="2862" y="2142"/>
                </a:lnTo>
                <a:lnTo>
                  <a:pt x="2868" y="2148"/>
                </a:lnTo>
                <a:lnTo>
                  <a:pt x="2874" y="2148"/>
                </a:lnTo>
                <a:lnTo>
                  <a:pt x="2886" y="2154"/>
                </a:lnTo>
                <a:lnTo>
                  <a:pt x="2898" y="2142"/>
                </a:lnTo>
                <a:lnTo>
                  <a:pt x="2922" y="2148"/>
                </a:lnTo>
                <a:lnTo>
                  <a:pt x="2940" y="2142"/>
                </a:lnTo>
                <a:lnTo>
                  <a:pt x="2952" y="2148"/>
                </a:lnTo>
                <a:lnTo>
                  <a:pt x="2952" y="2154"/>
                </a:lnTo>
                <a:lnTo>
                  <a:pt x="2952" y="2160"/>
                </a:lnTo>
                <a:lnTo>
                  <a:pt x="2940" y="2190"/>
                </a:lnTo>
                <a:lnTo>
                  <a:pt x="2928" y="2202"/>
                </a:lnTo>
                <a:lnTo>
                  <a:pt x="2928" y="2208"/>
                </a:lnTo>
                <a:lnTo>
                  <a:pt x="2910" y="2250"/>
                </a:lnTo>
                <a:lnTo>
                  <a:pt x="2910" y="2256"/>
                </a:lnTo>
                <a:lnTo>
                  <a:pt x="2916" y="2262"/>
                </a:lnTo>
                <a:lnTo>
                  <a:pt x="2922" y="2244"/>
                </a:lnTo>
                <a:lnTo>
                  <a:pt x="2934" y="2220"/>
                </a:lnTo>
                <a:lnTo>
                  <a:pt x="2952" y="2208"/>
                </a:lnTo>
                <a:lnTo>
                  <a:pt x="2946" y="2190"/>
                </a:lnTo>
                <a:lnTo>
                  <a:pt x="2958" y="2178"/>
                </a:lnTo>
                <a:lnTo>
                  <a:pt x="2958" y="2160"/>
                </a:lnTo>
                <a:lnTo>
                  <a:pt x="2964" y="2154"/>
                </a:lnTo>
                <a:lnTo>
                  <a:pt x="3012" y="2130"/>
                </a:lnTo>
                <a:lnTo>
                  <a:pt x="3048" y="2082"/>
                </a:lnTo>
                <a:lnTo>
                  <a:pt x="3060" y="2076"/>
                </a:lnTo>
                <a:lnTo>
                  <a:pt x="3066" y="2070"/>
                </a:lnTo>
                <a:lnTo>
                  <a:pt x="3066" y="2064"/>
                </a:lnTo>
                <a:lnTo>
                  <a:pt x="3072" y="2034"/>
                </a:lnTo>
                <a:lnTo>
                  <a:pt x="3090" y="2016"/>
                </a:lnTo>
                <a:lnTo>
                  <a:pt x="3102" y="2004"/>
                </a:lnTo>
                <a:lnTo>
                  <a:pt x="3114" y="1992"/>
                </a:lnTo>
                <a:lnTo>
                  <a:pt x="3126" y="1980"/>
                </a:lnTo>
                <a:lnTo>
                  <a:pt x="3144" y="1944"/>
                </a:lnTo>
                <a:lnTo>
                  <a:pt x="3156" y="1896"/>
                </a:lnTo>
                <a:lnTo>
                  <a:pt x="3156" y="1890"/>
                </a:lnTo>
                <a:lnTo>
                  <a:pt x="3156" y="1878"/>
                </a:lnTo>
                <a:lnTo>
                  <a:pt x="3156" y="1860"/>
                </a:lnTo>
                <a:lnTo>
                  <a:pt x="3162" y="1854"/>
                </a:lnTo>
                <a:lnTo>
                  <a:pt x="3162" y="1842"/>
                </a:lnTo>
                <a:lnTo>
                  <a:pt x="3156" y="1836"/>
                </a:lnTo>
                <a:lnTo>
                  <a:pt x="3162" y="1812"/>
                </a:lnTo>
                <a:lnTo>
                  <a:pt x="3156" y="1800"/>
                </a:lnTo>
                <a:lnTo>
                  <a:pt x="3168" y="1788"/>
                </a:lnTo>
                <a:lnTo>
                  <a:pt x="3180" y="1782"/>
                </a:lnTo>
                <a:lnTo>
                  <a:pt x="3180" y="1770"/>
                </a:lnTo>
                <a:lnTo>
                  <a:pt x="3192" y="1752"/>
                </a:lnTo>
                <a:lnTo>
                  <a:pt x="3198" y="1680"/>
                </a:lnTo>
                <a:lnTo>
                  <a:pt x="3198" y="1638"/>
                </a:lnTo>
                <a:lnTo>
                  <a:pt x="3204" y="1614"/>
                </a:lnTo>
                <a:lnTo>
                  <a:pt x="3204" y="1578"/>
                </a:lnTo>
                <a:lnTo>
                  <a:pt x="3216" y="1566"/>
                </a:lnTo>
                <a:lnTo>
                  <a:pt x="3222" y="1554"/>
                </a:lnTo>
                <a:lnTo>
                  <a:pt x="3222" y="1548"/>
                </a:lnTo>
                <a:lnTo>
                  <a:pt x="3228" y="1524"/>
                </a:lnTo>
                <a:lnTo>
                  <a:pt x="3228" y="1506"/>
                </a:lnTo>
                <a:lnTo>
                  <a:pt x="3228" y="1500"/>
                </a:lnTo>
                <a:lnTo>
                  <a:pt x="3234" y="1494"/>
                </a:lnTo>
                <a:lnTo>
                  <a:pt x="3228" y="1476"/>
                </a:lnTo>
                <a:lnTo>
                  <a:pt x="3222" y="1470"/>
                </a:lnTo>
                <a:lnTo>
                  <a:pt x="3222" y="1464"/>
                </a:lnTo>
                <a:lnTo>
                  <a:pt x="3240" y="1452"/>
                </a:lnTo>
                <a:lnTo>
                  <a:pt x="3246" y="1446"/>
                </a:lnTo>
                <a:lnTo>
                  <a:pt x="3258" y="1428"/>
                </a:lnTo>
                <a:lnTo>
                  <a:pt x="3270" y="1410"/>
                </a:lnTo>
                <a:lnTo>
                  <a:pt x="3276" y="1398"/>
                </a:lnTo>
                <a:lnTo>
                  <a:pt x="3282" y="1368"/>
                </a:lnTo>
                <a:lnTo>
                  <a:pt x="3288" y="1362"/>
                </a:lnTo>
                <a:lnTo>
                  <a:pt x="3312" y="1374"/>
                </a:lnTo>
                <a:lnTo>
                  <a:pt x="3312" y="1380"/>
                </a:lnTo>
                <a:lnTo>
                  <a:pt x="3318" y="1386"/>
                </a:lnTo>
                <a:lnTo>
                  <a:pt x="3324" y="1386"/>
                </a:lnTo>
                <a:lnTo>
                  <a:pt x="3360" y="1368"/>
                </a:lnTo>
                <a:lnTo>
                  <a:pt x="3390" y="1374"/>
                </a:lnTo>
                <a:lnTo>
                  <a:pt x="3402" y="1386"/>
                </a:lnTo>
                <a:lnTo>
                  <a:pt x="3414" y="1392"/>
                </a:lnTo>
                <a:lnTo>
                  <a:pt x="3432" y="1380"/>
                </a:lnTo>
                <a:lnTo>
                  <a:pt x="3438" y="1380"/>
                </a:lnTo>
                <a:lnTo>
                  <a:pt x="3456" y="1374"/>
                </a:lnTo>
                <a:lnTo>
                  <a:pt x="3468" y="1368"/>
                </a:lnTo>
                <a:lnTo>
                  <a:pt x="3480" y="1368"/>
                </a:lnTo>
                <a:lnTo>
                  <a:pt x="3486" y="1392"/>
                </a:lnTo>
                <a:lnTo>
                  <a:pt x="3498" y="1404"/>
                </a:lnTo>
                <a:lnTo>
                  <a:pt x="3510" y="1398"/>
                </a:lnTo>
                <a:lnTo>
                  <a:pt x="3522" y="1404"/>
                </a:lnTo>
                <a:lnTo>
                  <a:pt x="3510" y="1422"/>
                </a:lnTo>
                <a:lnTo>
                  <a:pt x="3510" y="1452"/>
                </a:lnTo>
                <a:lnTo>
                  <a:pt x="3510" y="1458"/>
                </a:lnTo>
                <a:lnTo>
                  <a:pt x="3516" y="1470"/>
                </a:lnTo>
                <a:lnTo>
                  <a:pt x="3528" y="1482"/>
                </a:lnTo>
                <a:lnTo>
                  <a:pt x="3516" y="1494"/>
                </a:lnTo>
                <a:lnTo>
                  <a:pt x="3522" y="1524"/>
                </a:lnTo>
                <a:lnTo>
                  <a:pt x="3516" y="1542"/>
                </a:lnTo>
                <a:lnTo>
                  <a:pt x="3510" y="1554"/>
                </a:lnTo>
                <a:lnTo>
                  <a:pt x="3516" y="1560"/>
                </a:lnTo>
                <a:lnTo>
                  <a:pt x="3516" y="1566"/>
                </a:lnTo>
                <a:lnTo>
                  <a:pt x="3516" y="1572"/>
                </a:lnTo>
                <a:lnTo>
                  <a:pt x="3516" y="1578"/>
                </a:lnTo>
                <a:lnTo>
                  <a:pt x="3510" y="1596"/>
                </a:lnTo>
                <a:lnTo>
                  <a:pt x="3528" y="1626"/>
                </a:lnTo>
                <a:lnTo>
                  <a:pt x="3528" y="1638"/>
                </a:lnTo>
                <a:lnTo>
                  <a:pt x="3522" y="1656"/>
                </a:lnTo>
                <a:lnTo>
                  <a:pt x="3522" y="1668"/>
                </a:lnTo>
                <a:lnTo>
                  <a:pt x="3528" y="1668"/>
                </a:lnTo>
                <a:lnTo>
                  <a:pt x="3528" y="1680"/>
                </a:lnTo>
                <a:lnTo>
                  <a:pt x="3528" y="1692"/>
                </a:lnTo>
                <a:lnTo>
                  <a:pt x="3510" y="1698"/>
                </a:lnTo>
                <a:lnTo>
                  <a:pt x="3510" y="1740"/>
                </a:lnTo>
                <a:lnTo>
                  <a:pt x="3522" y="1752"/>
                </a:lnTo>
                <a:lnTo>
                  <a:pt x="3528" y="1764"/>
                </a:lnTo>
                <a:lnTo>
                  <a:pt x="3522" y="1788"/>
                </a:lnTo>
                <a:lnTo>
                  <a:pt x="3516" y="1806"/>
                </a:lnTo>
                <a:lnTo>
                  <a:pt x="3516" y="1830"/>
                </a:lnTo>
                <a:lnTo>
                  <a:pt x="3534" y="1824"/>
                </a:lnTo>
                <a:lnTo>
                  <a:pt x="3546" y="1830"/>
                </a:lnTo>
                <a:lnTo>
                  <a:pt x="3552" y="1854"/>
                </a:lnTo>
                <a:lnTo>
                  <a:pt x="3558" y="1860"/>
                </a:lnTo>
                <a:lnTo>
                  <a:pt x="3570" y="1872"/>
                </a:lnTo>
                <a:lnTo>
                  <a:pt x="3588" y="1878"/>
                </a:lnTo>
                <a:lnTo>
                  <a:pt x="3588" y="1884"/>
                </a:lnTo>
                <a:lnTo>
                  <a:pt x="3582" y="1902"/>
                </a:lnTo>
                <a:lnTo>
                  <a:pt x="3594" y="1938"/>
                </a:lnTo>
                <a:lnTo>
                  <a:pt x="3582" y="1992"/>
                </a:lnTo>
                <a:lnTo>
                  <a:pt x="3576" y="2010"/>
                </a:lnTo>
                <a:lnTo>
                  <a:pt x="3576" y="2022"/>
                </a:lnTo>
                <a:lnTo>
                  <a:pt x="3576" y="2040"/>
                </a:lnTo>
                <a:lnTo>
                  <a:pt x="3552" y="2088"/>
                </a:lnTo>
                <a:lnTo>
                  <a:pt x="3552" y="2100"/>
                </a:lnTo>
                <a:lnTo>
                  <a:pt x="3552" y="2106"/>
                </a:lnTo>
                <a:lnTo>
                  <a:pt x="3558" y="2130"/>
                </a:lnTo>
                <a:lnTo>
                  <a:pt x="3582" y="2136"/>
                </a:lnTo>
                <a:lnTo>
                  <a:pt x="3588" y="2142"/>
                </a:lnTo>
                <a:lnTo>
                  <a:pt x="3600" y="2148"/>
                </a:lnTo>
                <a:lnTo>
                  <a:pt x="3600" y="2160"/>
                </a:lnTo>
                <a:lnTo>
                  <a:pt x="3594" y="2160"/>
                </a:lnTo>
                <a:lnTo>
                  <a:pt x="3600" y="2166"/>
                </a:lnTo>
                <a:lnTo>
                  <a:pt x="3612" y="2166"/>
                </a:lnTo>
                <a:lnTo>
                  <a:pt x="3612" y="2160"/>
                </a:lnTo>
                <a:lnTo>
                  <a:pt x="3618" y="2160"/>
                </a:lnTo>
                <a:lnTo>
                  <a:pt x="3624" y="2124"/>
                </a:lnTo>
                <a:lnTo>
                  <a:pt x="3636" y="2118"/>
                </a:lnTo>
                <a:lnTo>
                  <a:pt x="3642" y="2124"/>
                </a:lnTo>
                <a:lnTo>
                  <a:pt x="3648" y="2142"/>
                </a:lnTo>
                <a:lnTo>
                  <a:pt x="3642" y="2166"/>
                </a:lnTo>
                <a:lnTo>
                  <a:pt x="3654" y="2178"/>
                </a:lnTo>
                <a:lnTo>
                  <a:pt x="3684" y="2172"/>
                </a:lnTo>
                <a:lnTo>
                  <a:pt x="3690" y="2178"/>
                </a:lnTo>
                <a:lnTo>
                  <a:pt x="3666" y="2190"/>
                </a:lnTo>
                <a:lnTo>
                  <a:pt x="3654" y="2202"/>
                </a:lnTo>
                <a:lnTo>
                  <a:pt x="3654" y="2208"/>
                </a:lnTo>
                <a:lnTo>
                  <a:pt x="3660" y="2208"/>
                </a:lnTo>
                <a:lnTo>
                  <a:pt x="3660" y="2214"/>
                </a:lnTo>
                <a:lnTo>
                  <a:pt x="3672" y="2202"/>
                </a:lnTo>
                <a:lnTo>
                  <a:pt x="3690" y="2208"/>
                </a:lnTo>
                <a:lnTo>
                  <a:pt x="3696" y="2208"/>
                </a:lnTo>
                <a:lnTo>
                  <a:pt x="3702" y="2214"/>
                </a:lnTo>
                <a:lnTo>
                  <a:pt x="3702" y="2208"/>
                </a:lnTo>
                <a:lnTo>
                  <a:pt x="3708" y="2190"/>
                </a:lnTo>
                <a:lnTo>
                  <a:pt x="3738" y="2148"/>
                </a:lnTo>
                <a:lnTo>
                  <a:pt x="3756" y="2130"/>
                </a:lnTo>
                <a:lnTo>
                  <a:pt x="3774" y="2082"/>
                </a:lnTo>
                <a:lnTo>
                  <a:pt x="3798" y="2064"/>
                </a:lnTo>
                <a:lnTo>
                  <a:pt x="3798" y="2040"/>
                </a:lnTo>
                <a:lnTo>
                  <a:pt x="3798" y="1992"/>
                </a:lnTo>
                <a:lnTo>
                  <a:pt x="3804" y="1974"/>
                </a:lnTo>
                <a:lnTo>
                  <a:pt x="3810" y="1962"/>
                </a:lnTo>
                <a:lnTo>
                  <a:pt x="3804" y="1950"/>
                </a:lnTo>
                <a:lnTo>
                  <a:pt x="3804" y="1926"/>
                </a:lnTo>
                <a:lnTo>
                  <a:pt x="3810" y="1914"/>
                </a:lnTo>
                <a:lnTo>
                  <a:pt x="3804" y="1896"/>
                </a:lnTo>
                <a:lnTo>
                  <a:pt x="3804" y="1878"/>
                </a:lnTo>
                <a:lnTo>
                  <a:pt x="3792" y="1860"/>
                </a:lnTo>
                <a:lnTo>
                  <a:pt x="3786" y="1842"/>
                </a:lnTo>
                <a:lnTo>
                  <a:pt x="3792" y="1830"/>
                </a:lnTo>
                <a:lnTo>
                  <a:pt x="3792" y="1824"/>
                </a:lnTo>
                <a:lnTo>
                  <a:pt x="3798" y="1818"/>
                </a:lnTo>
                <a:lnTo>
                  <a:pt x="3804" y="1818"/>
                </a:lnTo>
                <a:lnTo>
                  <a:pt x="3810" y="1806"/>
                </a:lnTo>
                <a:lnTo>
                  <a:pt x="3846" y="1806"/>
                </a:lnTo>
                <a:lnTo>
                  <a:pt x="3870" y="1806"/>
                </a:lnTo>
                <a:lnTo>
                  <a:pt x="3876" y="1794"/>
                </a:lnTo>
                <a:lnTo>
                  <a:pt x="3882" y="1788"/>
                </a:lnTo>
                <a:lnTo>
                  <a:pt x="3888" y="1776"/>
                </a:lnTo>
                <a:lnTo>
                  <a:pt x="3882" y="1752"/>
                </a:lnTo>
                <a:lnTo>
                  <a:pt x="3882" y="1740"/>
                </a:lnTo>
                <a:lnTo>
                  <a:pt x="3882" y="1722"/>
                </a:lnTo>
                <a:lnTo>
                  <a:pt x="3888" y="1704"/>
                </a:lnTo>
                <a:lnTo>
                  <a:pt x="3912" y="1692"/>
                </a:lnTo>
                <a:lnTo>
                  <a:pt x="3948" y="1686"/>
                </a:lnTo>
                <a:lnTo>
                  <a:pt x="3960" y="1674"/>
                </a:lnTo>
                <a:lnTo>
                  <a:pt x="3966" y="1674"/>
                </a:lnTo>
                <a:lnTo>
                  <a:pt x="3978" y="1686"/>
                </a:lnTo>
                <a:lnTo>
                  <a:pt x="3984" y="1686"/>
                </a:lnTo>
                <a:lnTo>
                  <a:pt x="3996" y="1686"/>
                </a:lnTo>
                <a:lnTo>
                  <a:pt x="4014" y="1692"/>
                </a:lnTo>
                <a:lnTo>
                  <a:pt x="4020" y="1692"/>
                </a:lnTo>
                <a:lnTo>
                  <a:pt x="4026" y="1698"/>
                </a:lnTo>
                <a:lnTo>
                  <a:pt x="4038" y="1704"/>
                </a:lnTo>
                <a:lnTo>
                  <a:pt x="4062" y="1698"/>
                </a:lnTo>
                <a:lnTo>
                  <a:pt x="4068" y="1710"/>
                </a:lnTo>
                <a:lnTo>
                  <a:pt x="4080" y="1716"/>
                </a:lnTo>
                <a:lnTo>
                  <a:pt x="4086" y="1740"/>
                </a:lnTo>
                <a:lnTo>
                  <a:pt x="4098" y="1746"/>
                </a:lnTo>
                <a:lnTo>
                  <a:pt x="4104" y="1740"/>
                </a:lnTo>
                <a:lnTo>
                  <a:pt x="4110" y="1734"/>
                </a:lnTo>
                <a:lnTo>
                  <a:pt x="4116" y="1716"/>
                </a:lnTo>
                <a:lnTo>
                  <a:pt x="4146" y="1722"/>
                </a:lnTo>
                <a:lnTo>
                  <a:pt x="4140" y="1728"/>
                </a:lnTo>
                <a:lnTo>
                  <a:pt x="4128" y="1728"/>
                </a:lnTo>
                <a:lnTo>
                  <a:pt x="4140" y="1746"/>
                </a:lnTo>
                <a:lnTo>
                  <a:pt x="4140" y="1776"/>
                </a:lnTo>
                <a:lnTo>
                  <a:pt x="4164" y="1800"/>
                </a:lnTo>
                <a:lnTo>
                  <a:pt x="4158" y="1770"/>
                </a:lnTo>
                <a:lnTo>
                  <a:pt x="4164" y="1728"/>
                </a:lnTo>
                <a:lnTo>
                  <a:pt x="4152" y="1722"/>
                </a:lnTo>
                <a:lnTo>
                  <a:pt x="4170" y="1686"/>
                </a:lnTo>
                <a:lnTo>
                  <a:pt x="4206" y="1644"/>
                </a:lnTo>
                <a:lnTo>
                  <a:pt x="4236" y="1626"/>
                </a:lnTo>
                <a:lnTo>
                  <a:pt x="4260" y="1626"/>
                </a:lnTo>
                <a:lnTo>
                  <a:pt x="4284" y="1614"/>
                </a:lnTo>
                <a:lnTo>
                  <a:pt x="4302" y="1608"/>
                </a:lnTo>
                <a:lnTo>
                  <a:pt x="4320" y="1614"/>
                </a:lnTo>
                <a:lnTo>
                  <a:pt x="4332" y="1626"/>
                </a:lnTo>
                <a:lnTo>
                  <a:pt x="4332" y="1638"/>
                </a:lnTo>
                <a:lnTo>
                  <a:pt x="4326" y="1656"/>
                </a:lnTo>
                <a:lnTo>
                  <a:pt x="4320" y="1662"/>
                </a:lnTo>
                <a:lnTo>
                  <a:pt x="4314" y="1686"/>
                </a:lnTo>
                <a:lnTo>
                  <a:pt x="4296" y="1698"/>
                </a:lnTo>
                <a:lnTo>
                  <a:pt x="4308" y="1704"/>
                </a:lnTo>
                <a:lnTo>
                  <a:pt x="4344" y="1680"/>
                </a:lnTo>
                <a:lnTo>
                  <a:pt x="4350" y="1674"/>
                </a:lnTo>
                <a:lnTo>
                  <a:pt x="4350" y="1662"/>
                </a:lnTo>
                <a:lnTo>
                  <a:pt x="4368" y="1656"/>
                </a:lnTo>
                <a:lnTo>
                  <a:pt x="4368" y="1650"/>
                </a:lnTo>
                <a:lnTo>
                  <a:pt x="4374" y="1644"/>
                </a:lnTo>
                <a:lnTo>
                  <a:pt x="4374" y="1626"/>
                </a:lnTo>
                <a:lnTo>
                  <a:pt x="4380" y="1620"/>
                </a:lnTo>
                <a:lnTo>
                  <a:pt x="4404" y="1638"/>
                </a:lnTo>
                <a:lnTo>
                  <a:pt x="4416" y="1650"/>
                </a:lnTo>
                <a:lnTo>
                  <a:pt x="4428" y="1674"/>
                </a:lnTo>
                <a:lnTo>
                  <a:pt x="4422" y="1680"/>
                </a:lnTo>
                <a:lnTo>
                  <a:pt x="4422" y="1686"/>
                </a:lnTo>
                <a:lnTo>
                  <a:pt x="4416" y="1692"/>
                </a:lnTo>
                <a:lnTo>
                  <a:pt x="4380" y="1734"/>
                </a:lnTo>
                <a:lnTo>
                  <a:pt x="4374" y="1740"/>
                </a:lnTo>
                <a:lnTo>
                  <a:pt x="4374" y="1746"/>
                </a:lnTo>
                <a:lnTo>
                  <a:pt x="4380" y="1752"/>
                </a:lnTo>
                <a:lnTo>
                  <a:pt x="4398" y="1734"/>
                </a:lnTo>
                <a:lnTo>
                  <a:pt x="4416" y="1722"/>
                </a:lnTo>
                <a:lnTo>
                  <a:pt x="4434" y="1722"/>
                </a:lnTo>
                <a:lnTo>
                  <a:pt x="4440" y="1722"/>
                </a:lnTo>
                <a:lnTo>
                  <a:pt x="4446" y="1722"/>
                </a:lnTo>
                <a:lnTo>
                  <a:pt x="4458" y="1728"/>
                </a:lnTo>
                <a:lnTo>
                  <a:pt x="4464" y="1728"/>
                </a:lnTo>
                <a:lnTo>
                  <a:pt x="4464" y="1734"/>
                </a:lnTo>
                <a:lnTo>
                  <a:pt x="4470" y="1740"/>
                </a:lnTo>
                <a:lnTo>
                  <a:pt x="4476" y="1764"/>
                </a:lnTo>
                <a:lnTo>
                  <a:pt x="4482" y="1776"/>
                </a:lnTo>
                <a:lnTo>
                  <a:pt x="4482" y="1782"/>
                </a:lnTo>
                <a:lnTo>
                  <a:pt x="4482" y="1788"/>
                </a:lnTo>
                <a:lnTo>
                  <a:pt x="4488" y="1818"/>
                </a:lnTo>
                <a:lnTo>
                  <a:pt x="4476" y="1836"/>
                </a:lnTo>
                <a:lnTo>
                  <a:pt x="4434" y="1854"/>
                </a:lnTo>
                <a:lnTo>
                  <a:pt x="4422" y="1866"/>
                </a:lnTo>
                <a:lnTo>
                  <a:pt x="4422" y="1872"/>
                </a:lnTo>
                <a:lnTo>
                  <a:pt x="4458" y="1872"/>
                </a:lnTo>
                <a:lnTo>
                  <a:pt x="4476" y="1866"/>
                </a:lnTo>
                <a:lnTo>
                  <a:pt x="4482" y="1866"/>
                </a:lnTo>
                <a:lnTo>
                  <a:pt x="4488" y="1866"/>
                </a:lnTo>
                <a:lnTo>
                  <a:pt x="4488" y="1872"/>
                </a:lnTo>
                <a:lnTo>
                  <a:pt x="4494" y="1872"/>
                </a:lnTo>
                <a:lnTo>
                  <a:pt x="4500" y="1878"/>
                </a:lnTo>
                <a:lnTo>
                  <a:pt x="4500" y="1884"/>
                </a:lnTo>
                <a:lnTo>
                  <a:pt x="4500" y="1890"/>
                </a:lnTo>
                <a:lnTo>
                  <a:pt x="4500" y="1908"/>
                </a:lnTo>
                <a:lnTo>
                  <a:pt x="4494" y="1938"/>
                </a:lnTo>
                <a:lnTo>
                  <a:pt x="4488" y="1968"/>
                </a:lnTo>
                <a:lnTo>
                  <a:pt x="4488" y="1980"/>
                </a:lnTo>
                <a:lnTo>
                  <a:pt x="4476" y="2010"/>
                </a:lnTo>
                <a:lnTo>
                  <a:pt x="4476" y="2016"/>
                </a:lnTo>
                <a:lnTo>
                  <a:pt x="4458" y="2034"/>
                </a:lnTo>
                <a:lnTo>
                  <a:pt x="4440" y="2070"/>
                </a:lnTo>
                <a:lnTo>
                  <a:pt x="4440" y="2082"/>
                </a:lnTo>
                <a:lnTo>
                  <a:pt x="4446" y="2088"/>
                </a:lnTo>
                <a:lnTo>
                  <a:pt x="4458" y="2094"/>
                </a:lnTo>
                <a:lnTo>
                  <a:pt x="4476" y="2106"/>
                </a:lnTo>
                <a:lnTo>
                  <a:pt x="4482" y="2124"/>
                </a:lnTo>
                <a:lnTo>
                  <a:pt x="4500" y="2148"/>
                </a:lnTo>
                <a:lnTo>
                  <a:pt x="4518" y="2148"/>
                </a:lnTo>
                <a:lnTo>
                  <a:pt x="4536" y="2166"/>
                </a:lnTo>
                <a:lnTo>
                  <a:pt x="4548" y="2172"/>
                </a:lnTo>
                <a:lnTo>
                  <a:pt x="4554" y="2190"/>
                </a:lnTo>
                <a:lnTo>
                  <a:pt x="4554" y="2238"/>
                </a:lnTo>
                <a:lnTo>
                  <a:pt x="4560" y="2256"/>
                </a:lnTo>
                <a:lnTo>
                  <a:pt x="4554" y="2286"/>
                </a:lnTo>
                <a:lnTo>
                  <a:pt x="4548" y="2316"/>
                </a:lnTo>
                <a:lnTo>
                  <a:pt x="4554" y="2322"/>
                </a:lnTo>
                <a:lnTo>
                  <a:pt x="4566" y="2328"/>
                </a:lnTo>
                <a:lnTo>
                  <a:pt x="4578" y="2346"/>
                </a:lnTo>
                <a:lnTo>
                  <a:pt x="4578" y="2358"/>
                </a:lnTo>
                <a:lnTo>
                  <a:pt x="4572" y="2376"/>
                </a:lnTo>
                <a:lnTo>
                  <a:pt x="4560" y="2406"/>
                </a:lnTo>
                <a:lnTo>
                  <a:pt x="4554" y="2436"/>
                </a:lnTo>
                <a:lnTo>
                  <a:pt x="4560" y="2466"/>
                </a:lnTo>
                <a:lnTo>
                  <a:pt x="4554" y="2502"/>
                </a:lnTo>
                <a:lnTo>
                  <a:pt x="4542" y="2508"/>
                </a:lnTo>
                <a:lnTo>
                  <a:pt x="4536" y="2532"/>
                </a:lnTo>
                <a:lnTo>
                  <a:pt x="4524" y="2550"/>
                </a:lnTo>
                <a:lnTo>
                  <a:pt x="4518" y="2562"/>
                </a:lnTo>
                <a:lnTo>
                  <a:pt x="4530" y="2586"/>
                </a:lnTo>
                <a:lnTo>
                  <a:pt x="4530" y="2604"/>
                </a:lnTo>
                <a:lnTo>
                  <a:pt x="4536" y="2634"/>
                </a:lnTo>
                <a:lnTo>
                  <a:pt x="4542" y="2652"/>
                </a:lnTo>
                <a:lnTo>
                  <a:pt x="4536" y="2664"/>
                </a:lnTo>
                <a:lnTo>
                  <a:pt x="4530" y="2676"/>
                </a:lnTo>
                <a:lnTo>
                  <a:pt x="4518" y="2706"/>
                </a:lnTo>
                <a:lnTo>
                  <a:pt x="4524" y="2718"/>
                </a:lnTo>
                <a:lnTo>
                  <a:pt x="4524" y="2736"/>
                </a:lnTo>
                <a:lnTo>
                  <a:pt x="4536" y="2718"/>
                </a:lnTo>
                <a:lnTo>
                  <a:pt x="4548" y="2712"/>
                </a:lnTo>
                <a:lnTo>
                  <a:pt x="4560" y="2694"/>
                </a:lnTo>
                <a:lnTo>
                  <a:pt x="4560" y="2688"/>
                </a:lnTo>
                <a:lnTo>
                  <a:pt x="4560" y="2682"/>
                </a:lnTo>
                <a:lnTo>
                  <a:pt x="4560" y="2640"/>
                </a:lnTo>
                <a:lnTo>
                  <a:pt x="4566" y="2616"/>
                </a:lnTo>
                <a:lnTo>
                  <a:pt x="4560" y="2592"/>
                </a:lnTo>
                <a:lnTo>
                  <a:pt x="4566" y="2574"/>
                </a:lnTo>
                <a:lnTo>
                  <a:pt x="4578" y="2550"/>
                </a:lnTo>
                <a:lnTo>
                  <a:pt x="4590" y="2514"/>
                </a:lnTo>
                <a:lnTo>
                  <a:pt x="4602" y="2502"/>
                </a:lnTo>
                <a:lnTo>
                  <a:pt x="4620" y="2484"/>
                </a:lnTo>
                <a:lnTo>
                  <a:pt x="4632" y="2472"/>
                </a:lnTo>
                <a:lnTo>
                  <a:pt x="4632" y="2454"/>
                </a:lnTo>
                <a:lnTo>
                  <a:pt x="4638" y="2448"/>
                </a:lnTo>
                <a:lnTo>
                  <a:pt x="4650" y="2454"/>
                </a:lnTo>
                <a:lnTo>
                  <a:pt x="4650" y="2448"/>
                </a:lnTo>
                <a:lnTo>
                  <a:pt x="4644" y="2442"/>
                </a:lnTo>
                <a:lnTo>
                  <a:pt x="4650" y="2424"/>
                </a:lnTo>
                <a:lnTo>
                  <a:pt x="4662" y="2412"/>
                </a:lnTo>
                <a:lnTo>
                  <a:pt x="4662" y="2406"/>
                </a:lnTo>
                <a:lnTo>
                  <a:pt x="4656" y="2394"/>
                </a:lnTo>
                <a:lnTo>
                  <a:pt x="4656" y="2382"/>
                </a:lnTo>
                <a:lnTo>
                  <a:pt x="4662" y="2370"/>
                </a:lnTo>
                <a:lnTo>
                  <a:pt x="4662" y="2358"/>
                </a:lnTo>
                <a:lnTo>
                  <a:pt x="4662" y="2352"/>
                </a:lnTo>
                <a:lnTo>
                  <a:pt x="4662" y="2334"/>
                </a:lnTo>
                <a:lnTo>
                  <a:pt x="4674" y="2316"/>
                </a:lnTo>
                <a:lnTo>
                  <a:pt x="4668" y="2316"/>
                </a:lnTo>
                <a:lnTo>
                  <a:pt x="4662" y="2316"/>
                </a:lnTo>
                <a:lnTo>
                  <a:pt x="4662" y="2310"/>
                </a:lnTo>
                <a:lnTo>
                  <a:pt x="4662" y="2286"/>
                </a:lnTo>
                <a:lnTo>
                  <a:pt x="4656" y="2274"/>
                </a:lnTo>
                <a:lnTo>
                  <a:pt x="4662" y="2268"/>
                </a:lnTo>
                <a:lnTo>
                  <a:pt x="4662" y="2262"/>
                </a:lnTo>
                <a:lnTo>
                  <a:pt x="4656" y="2262"/>
                </a:lnTo>
                <a:lnTo>
                  <a:pt x="4650" y="2262"/>
                </a:lnTo>
                <a:lnTo>
                  <a:pt x="4644" y="2280"/>
                </a:lnTo>
                <a:lnTo>
                  <a:pt x="4638" y="2280"/>
                </a:lnTo>
                <a:lnTo>
                  <a:pt x="4626" y="2274"/>
                </a:lnTo>
                <a:lnTo>
                  <a:pt x="4626" y="2262"/>
                </a:lnTo>
                <a:lnTo>
                  <a:pt x="4614" y="2232"/>
                </a:lnTo>
                <a:lnTo>
                  <a:pt x="4620" y="2232"/>
                </a:lnTo>
                <a:lnTo>
                  <a:pt x="4620" y="2220"/>
                </a:lnTo>
                <a:lnTo>
                  <a:pt x="4638" y="2208"/>
                </a:lnTo>
                <a:lnTo>
                  <a:pt x="4638" y="2202"/>
                </a:lnTo>
                <a:lnTo>
                  <a:pt x="4638" y="2196"/>
                </a:lnTo>
                <a:lnTo>
                  <a:pt x="4626" y="2136"/>
                </a:lnTo>
                <a:lnTo>
                  <a:pt x="4626" y="2106"/>
                </a:lnTo>
                <a:lnTo>
                  <a:pt x="4626" y="2076"/>
                </a:lnTo>
                <a:lnTo>
                  <a:pt x="4638" y="2052"/>
                </a:lnTo>
                <a:lnTo>
                  <a:pt x="4638" y="2028"/>
                </a:lnTo>
                <a:lnTo>
                  <a:pt x="4638" y="1998"/>
                </a:lnTo>
                <a:lnTo>
                  <a:pt x="4644" y="1986"/>
                </a:lnTo>
                <a:lnTo>
                  <a:pt x="4650" y="1968"/>
                </a:lnTo>
                <a:lnTo>
                  <a:pt x="4662" y="1914"/>
                </a:lnTo>
                <a:lnTo>
                  <a:pt x="4674" y="1902"/>
                </a:lnTo>
                <a:lnTo>
                  <a:pt x="4680" y="1860"/>
                </a:lnTo>
                <a:lnTo>
                  <a:pt x="4686" y="1848"/>
                </a:lnTo>
                <a:lnTo>
                  <a:pt x="4698" y="1842"/>
                </a:lnTo>
                <a:lnTo>
                  <a:pt x="4704" y="1836"/>
                </a:lnTo>
                <a:lnTo>
                  <a:pt x="4716" y="1830"/>
                </a:lnTo>
                <a:lnTo>
                  <a:pt x="4728" y="1818"/>
                </a:lnTo>
                <a:lnTo>
                  <a:pt x="4734" y="1824"/>
                </a:lnTo>
                <a:lnTo>
                  <a:pt x="4740" y="1830"/>
                </a:lnTo>
                <a:lnTo>
                  <a:pt x="4746" y="1830"/>
                </a:lnTo>
                <a:lnTo>
                  <a:pt x="4764" y="1830"/>
                </a:lnTo>
                <a:lnTo>
                  <a:pt x="4770" y="1836"/>
                </a:lnTo>
                <a:lnTo>
                  <a:pt x="4776" y="1842"/>
                </a:lnTo>
                <a:lnTo>
                  <a:pt x="4788" y="1848"/>
                </a:lnTo>
                <a:lnTo>
                  <a:pt x="4800" y="1848"/>
                </a:lnTo>
                <a:lnTo>
                  <a:pt x="4806" y="1860"/>
                </a:lnTo>
                <a:lnTo>
                  <a:pt x="4812" y="1890"/>
                </a:lnTo>
                <a:lnTo>
                  <a:pt x="4818" y="1890"/>
                </a:lnTo>
                <a:lnTo>
                  <a:pt x="4818" y="1878"/>
                </a:lnTo>
                <a:lnTo>
                  <a:pt x="4824" y="1872"/>
                </a:lnTo>
                <a:lnTo>
                  <a:pt x="4836" y="1878"/>
                </a:lnTo>
                <a:lnTo>
                  <a:pt x="4848" y="1896"/>
                </a:lnTo>
                <a:lnTo>
                  <a:pt x="4854" y="1902"/>
                </a:lnTo>
                <a:lnTo>
                  <a:pt x="4842" y="1908"/>
                </a:lnTo>
                <a:lnTo>
                  <a:pt x="4842" y="1920"/>
                </a:lnTo>
                <a:lnTo>
                  <a:pt x="4872" y="1920"/>
                </a:lnTo>
                <a:lnTo>
                  <a:pt x="4884" y="1914"/>
                </a:lnTo>
                <a:lnTo>
                  <a:pt x="4902" y="1920"/>
                </a:lnTo>
                <a:lnTo>
                  <a:pt x="4914" y="1926"/>
                </a:lnTo>
                <a:lnTo>
                  <a:pt x="4920" y="1938"/>
                </a:lnTo>
                <a:lnTo>
                  <a:pt x="4932" y="1950"/>
                </a:lnTo>
                <a:lnTo>
                  <a:pt x="4938" y="1968"/>
                </a:lnTo>
                <a:lnTo>
                  <a:pt x="4956" y="1980"/>
                </a:lnTo>
                <a:lnTo>
                  <a:pt x="4944" y="2004"/>
                </a:lnTo>
                <a:lnTo>
                  <a:pt x="4950" y="2028"/>
                </a:lnTo>
                <a:lnTo>
                  <a:pt x="4956" y="2034"/>
                </a:lnTo>
                <a:lnTo>
                  <a:pt x="4962" y="2040"/>
                </a:lnTo>
                <a:lnTo>
                  <a:pt x="4974" y="2046"/>
                </a:lnTo>
                <a:lnTo>
                  <a:pt x="4986" y="2046"/>
                </a:lnTo>
                <a:lnTo>
                  <a:pt x="4986" y="2058"/>
                </a:lnTo>
                <a:lnTo>
                  <a:pt x="4986" y="2070"/>
                </a:lnTo>
                <a:lnTo>
                  <a:pt x="4986" y="2082"/>
                </a:lnTo>
                <a:lnTo>
                  <a:pt x="4992" y="2082"/>
                </a:lnTo>
                <a:lnTo>
                  <a:pt x="4998" y="2094"/>
                </a:lnTo>
                <a:lnTo>
                  <a:pt x="5004" y="2100"/>
                </a:lnTo>
                <a:lnTo>
                  <a:pt x="5004" y="2106"/>
                </a:lnTo>
                <a:lnTo>
                  <a:pt x="5010" y="2112"/>
                </a:lnTo>
                <a:lnTo>
                  <a:pt x="5016" y="2124"/>
                </a:lnTo>
                <a:lnTo>
                  <a:pt x="5016" y="2130"/>
                </a:lnTo>
                <a:lnTo>
                  <a:pt x="5022" y="2142"/>
                </a:lnTo>
                <a:lnTo>
                  <a:pt x="5028" y="2154"/>
                </a:lnTo>
                <a:lnTo>
                  <a:pt x="5022" y="2166"/>
                </a:lnTo>
                <a:lnTo>
                  <a:pt x="5028" y="2178"/>
                </a:lnTo>
                <a:lnTo>
                  <a:pt x="5028" y="2196"/>
                </a:lnTo>
                <a:lnTo>
                  <a:pt x="5034" y="2208"/>
                </a:lnTo>
                <a:lnTo>
                  <a:pt x="5022" y="2256"/>
                </a:lnTo>
                <a:lnTo>
                  <a:pt x="5028" y="2262"/>
                </a:lnTo>
                <a:lnTo>
                  <a:pt x="5034" y="2274"/>
                </a:lnTo>
                <a:lnTo>
                  <a:pt x="5034" y="2292"/>
                </a:lnTo>
                <a:lnTo>
                  <a:pt x="5040" y="2304"/>
                </a:lnTo>
                <a:lnTo>
                  <a:pt x="5046" y="2304"/>
                </a:lnTo>
                <a:lnTo>
                  <a:pt x="5052" y="2304"/>
                </a:lnTo>
                <a:lnTo>
                  <a:pt x="5052" y="2298"/>
                </a:lnTo>
                <a:lnTo>
                  <a:pt x="5070" y="2310"/>
                </a:lnTo>
                <a:lnTo>
                  <a:pt x="5088" y="2322"/>
                </a:lnTo>
                <a:lnTo>
                  <a:pt x="5100" y="2328"/>
                </a:lnTo>
                <a:lnTo>
                  <a:pt x="5118" y="2328"/>
                </a:lnTo>
                <a:lnTo>
                  <a:pt x="5142" y="2340"/>
                </a:lnTo>
                <a:lnTo>
                  <a:pt x="5166" y="2340"/>
                </a:lnTo>
                <a:lnTo>
                  <a:pt x="5166" y="2358"/>
                </a:lnTo>
                <a:lnTo>
                  <a:pt x="5166" y="2370"/>
                </a:lnTo>
                <a:lnTo>
                  <a:pt x="5166" y="2388"/>
                </a:lnTo>
                <a:lnTo>
                  <a:pt x="5160" y="2400"/>
                </a:lnTo>
                <a:lnTo>
                  <a:pt x="5160" y="2406"/>
                </a:lnTo>
                <a:lnTo>
                  <a:pt x="5172" y="2394"/>
                </a:lnTo>
                <a:lnTo>
                  <a:pt x="5172" y="2382"/>
                </a:lnTo>
                <a:lnTo>
                  <a:pt x="5178" y="2376"/>
                </a:lnTo>
                <a:lnTo>
                  <a:pt x="5178" y="2370"/>
                </a:lnTo>
                <a:lnTo>
                  <a:pt x="5172" y="2352"/>
                </a:lnTo>
                <a:lnTo>
                  <a:pt x="5190" y="2340"/>
                </a:lnTo>
                <a:lnTo>
                  <a:pt x="5190" y="2334"/>
                </a:lnTo>
                <a:lnTo>
                  <a:pt x="5214" y="2322"/>
                </a:lnTo>
                <a:lnTo>
                  <a:pt x="5208" y="2316"/>
                </a:lnTo>
                <a:lnTo>
                  <a:pt x="5220" y="2304"/>
                </a:lnTo>
                <a:lnTo>
                  <a:pt x="5250" y="2286"/>
                </a:lnTo>
                <a:lnTo>
                  <a:pt x="5256" y="2280"/>
                </a:lnTo>
                <a:lnTo>
                  <a:pt x="5250" y="2256"/>
                </a:lnTo>
                <a:lnTo>
                  <a:pt x="5262" y="2238"/>
                </a:lnTo>
                <a:lnTo>
                  <a:pt x="5262" y="2226"/>
                </a:lnTo>
                <a:lnTo>
                  <a:pt x="5274" y="2226"/>
                </a:lnTo>
                <a:lnTo>
                  <a:pt x="5286" y="2220"/>
                </a:lnTo>
                <a:lnTo>
                  <a:pt x="5280" y="2202"/>
                </a:lnTo>
                <a:lnTo>
                  <a:pt x="5286" y="2196"/>
                </a:lnTo>
                <a:lnTo>
                  <a:pt x="5316" y="2202"/>
                </a:lnTo>
                <a:lnTo>
                  <a:pt x="5334" y="2190"/>
                </a:lnTo>
                <a:lnTo>
                  <a:pt x="5358" y="2178"/>
                </a:lnTo>
                <a:lnTo>
                  <a:pt x="5364" y="2166"/>
                </a:lnTo>
                <a:lnTo>
                  <a:pt x="5364" y="2154"/>
                </a:lnTo>
                <a:lnTo>
                  <a:pt x="5376" y="2142"/>
                </a:lnTo>
                <a:lnTo>
                  <a:pt x="5376" y="2136"/>
                </a:lnTo>
                <a:lnTo>
                  <a:pt x="5370" y="2124"/>
                </a:lnTo>
                <a:lnTo>
                  <a:pt x="5376" y="2106"/>
                </a:lnTo>
                <a:lnTo>
                  <a:pt x="5394" y="2094"/>
                </a:lnTo>
                <a:lnTo>
                  <a:pt x="5406" y="2094"/>
                </a:lnTo>
                <a:lnTo>
                  <a:pt x="5412" y="2082"/>
                </a:lnTo>
                <a:lnTo>
                  <a:pt x="5430" y="2076"/>
                </a:lnTo>
                <a:lnTo>
                  <a:pt x="5448" y="2076"/>
                </a:lnTo>
                <a:lnTo>
                  <a:pt x="5466" y="2088"/>
                </a:lnTo>
                <a:lnTo>
                  <a:pt x="5472" y="2094"/>
                </a:lnTo>
                <a:lnTo>
                  <a:pt x="5484" y="2088"/>
                </a:lnTo>
                <a:lnTo>
                  <a:pt x="5490" y="2082"/>
                </a:lnTo>
                <a:lnTo>
                  <a:pt x="5490" y="2070"/>
                </a:lnTo>
                <a:lnTo>
                  <a:pt x="5496" y="2064"/>
                </a:lnTo>
                <a:lnTo>
                  <a:pt x="5508" y="2082"/>
                </a:lnTo>
                <a:lnTo>
                  <a:pt x="5514" y="2082"/>
                </a:lnTo>
                <a:lnTo>
                  <a:pt x="5526" y="2082"/>
                </a:lnTo>
                <a:lnTo>
                  <a:pt x="5532" y="2088"/>
                </a:lnTo>
                <a:lnTo>
                  <a:pt x="5544" y="2094"/>
                </a:lnTo>
                <a:lnTo>
                  <a:pt x="5568" y="2094"/>
                </a:lnTo>
                <a:lnTo>
                  <a:pt x="5574" y="2106"/>
                </a:lnTo>
                <a:lnTo>
                  <a:pt x="5580" y="2118"/>
                </a:lnTo>
                <a:lnTo>
                  <a:pt x="5586" y="2130"/>
                </a:lnTo>
                <a:lnTo>
                  <a:pt x="5586" y="2148"/>
                </a:lnTo>
                <a:lnTo>
                  <a:pt x="5592" y="2160"/>
                </a:lnTo>
                <a:lnTo>
                  <a:pt x="5574" y="2190"/>
                </a:lnTo>
                <a:lnTo>
                  <a:pt x="5574" y="2208"/>
                </a:lnTo>
                <a:lnTo>
                  <a:pt x="5580" y="2226"/>
                </a:lnTo>
                <a:lnTo>
                  <a:pt x="5574" y="2250"/>
                </a:lnTo>
                <a:lnTo>
                  <a:pt x="5580" y="2262"/>
                </a:lnTo>
                <a:lnTo>
                  <a:pt x="5568" y="2256"/>
                </a:lnTo>
                <a:lnTo>
                  <a:pt x="5568" y="2268"/>
                </a:lnTo>
                <a:lnTo>
                  <a:pt x="5556" y="2292"/>
                </a:lnTo>
                <a:lnTo>
                  <a:pt x="5568" y="2292"/>
                </a:lnTo>
                <a:lnTo>
                  <a:pt x="5580" y="2298"/>
                </a:lnTo>
                <a:lnTo>
                  <a:pt x="5586" y="2298"/>
                </a:lnTo>
                <a:lnTo>
                  <a:pt x="5574" y="2286"/>
                </a:lnTo>
                <a:lnTo>
                  <a:pt x="5580" y="2274"/>
                </a:lnTo>
                <a:lnTo>
                  <a:pt x="5586" y="2280"/>
                </a:lnTo>
                <a:lnTo>
                  <a:pt x="5592" y="2268"/>
                </a:lnTo>
                <a:lnTo>
                  <a:pt x="5616" y="2274"/>
                </a:lnTo>
                <a:lnTo>
                  <a:pt x="5670" y="2280"/>
                </a:lnTo>
                <a:lnTo>
                  <a:pt x="5694" y="2286"/>
                </a:lnTo>
                <a:lnTo>
                  <a:pt x="5724" y="2280"/>
                </a:lnTo>
                <a:lnTo>
                  <a:pt x="5730" y="2286"/>
                </a:lnTo>
                <a:lnTo>
                  <a:pt x="5724" y="2286"/>
                </a:lnTo>
                <a:lnTo>
                  <a:pt x="5682" y="2292"/>
                </a:lnTo>
                <a:lnTo>
                  <a:pt x="5694" y="2310"/>
                </a:lnTo>
                <a:lnTo>
                  <a:pt x="5688" y="2316"/>
                </a:lnTo>
                <a:lnTo>
                  <a:pt x="5682" y="2340"/>
                </a:lnTo>
                <a:lnTo>
                  <a:pt x="5688" y="2340"/>
                </a:lnTo>
                <a:lnTo>
                  <a:pt x="5700" y="2322"/>
                </a:lnTo>
                <a:lnTo>
                  <a:pt x="5712" y="2298"/>
                </a:lnTo>
                <a:lnTo>
                  <a:pt x="5730" y="2292"/>
                </a:lnTo>
                <a:lnTo>
                  <a:pt x="5748" y="2304"/>
                </a:lnTo>
                <a:lnTo>
                  <a:pt x="5742" y="2328"/>
                </a:lnTo>
                <a:lnTo>
                  <a:pt x="5748" y="2340"/>
                </a:lnTo>
                <a:lnTo>
                  <a:pt x="5754" y="2364"/>
                </a:lnTo>
                <a:lnTo>
                  <a:pt x="5760" y="2388"/>
                </a:lnTo>
                <a:lnTo>
                  <a:pt x="5778" y="2394"/>
                </a:lnTo>
                <a:lnTo>
                  <a:pt x="5766" y="2370"/>
                </a:lnTo>
                <a:lnTo>
                  <a:pt x="5760" y="2352"/>
                </a:lnTo>
                <a:lnTo>
                  <a:pt x="5754" y="2328"/>
                </a:lnTo>
                <a:lnTo>
                  <a:pt x="5754" y="2310"/>
                </a:lnTo>
                <a:lnTo>
                  <a:pt x="5760" y="2298"/>
                </a:lnTo>
                <a:lnTo>
                  <a:pt x="5760" y="2286"/>
                </a:lnTo>
                <a:lnTo>
                  <a:pt x="5772" y="2280"/>
                </a:lnTo>
                <a:lnTo>
                  <a:pt x="5778" y="2274"/>
                </a:lnTo>
                <a:lnTo>
                  <a:pt x="5766" y="2274"/>
                </a:lnTo>
                <a:lnTo>
                  <a:pt x="5748" y="2280"/>
                </a:lnTo>
                <a:lnTo>
                  <a:pt x="5748" y="2274"/>
                </a:lnTo>
                <a:lnTo>
                  <a:pt x="5808" y="2268"/>
                </a:lnTo>
                <a:lnTo>
                  <a:pt x="5832" y="2268"/>
                </a:lnTo>
                <a:lnTo>
                  <a:pt x="5868" y="2256"/>
                </a:lnTo>
                <a:lnTo>
                  <a:pt x="5916" y="2250"/>
                </a:lnTo>
                <a:lnTo>
                  <a:pt x="5916" y="2256"/>
                </a:lnTo>
                <a:lnTo>
                  <a:pt x="5862" y="2268"/>
                </a:lnTo>
                <a:lnTo>
                  <a:pt x="5856" y="2274"/>
                </a:lnTo>
                <a:lnTo>
                  <a:pt x="5802" y="2274"/>
                </a:lnTo>
                <a:lnTo>
                  <a:pt x="5802" y="2280"/>
                </a:lnTo>
                <a:lnTo>
                  <a:pt x="5814" y="2280"/>
                </a:lnTo>
                <a:lnTo>
                  <a:pt x="5826" y="2280"/>
                </a:lnTo>
                <a:lnTo>
                  <a:pt x="5832" y="2286"/>
                </a:lnTo>
                <a:lnTo>
                  <a:pt x="5850" y="2286"/>
                </a:lnTo>
                <a:lnTo>
                  <a:pt x="5862" y="2286"/>
                </a:lnTo>
                <a:lnTo>
                  <a:pt x="5868" y="2286"/>
                </a:lnTo>
                <a:lnTo>
                  <a:pt x="5862" y="2274"/>
                </a:lnTo>
                <a:lnTo>
                  <a:pt x="5898" y="2268"/>
                </a:lnTo>
                <a:lnTo>
                  <a:pt x="5892" y="2280"/>
                </a:lnTo>
                <a:lnTo>
                  <a:pt x="5892" y="2298"/>
                </a:lnTo>
                <a:lnTo>
                  <a:pt x="5904" y="2322"/>
                </a:lnTo>
                <a:lnTo>
                  <a:pt x="5904" y="2352"/>
                </a:lnTo>
                <a:lnTo>
                  <a:pt x="5910" y="2370"/>
                </a:lnTo>
                <a:lnTo>
                  <a:pt x="5916" y="2364"/>
                </a:lnTo>
                <a:lnTo>
                  <a:pt x="5916" y="2340"/>
                </a:lnTo>
                <a:lnTo>
                  <a:pt x="5904" y="2304"/>
                </a:lnTo>
                <a:lnTo>
                  <a:pt x="5904" y="2286"/>
                </a:lnTo>
                <a:lnTo>
                  <a:pt x="5910" y="2274"/>
                </a:lnTo>
                <a:lnTo>
                  <a:pt x="5928" y="2250"/>
                </a:lnTo>
                <a:lnTo>
                  <a:pt x="5946" y="2220"/>
                </a:lnTo>
                <a:lnTo>
                  <a:pt x="5952" y="2220"/>
                </a:lnTo>
                <a:lnTo>
                  <a:pt x="5964" y="2214"/>
                </a:lnTo>
                <a:lnTo>
                  <a:pt x="5982" y="2196"/>
                </a:lnTo>
                <a:lnTo>
                  <a:pt x="5994" y="2166"/>
                </a:lnTo>
                <a:lnTo>
                  <a:pt x="6006" y="2154"/>
                </a:lnTo>
                <a:lnTo>
                  <a:pt x="6012" y="2142"/>
                </a:lnTo>
                <a:lnTo>
                  <a:pt x="6006" y="2124"/>
                </a:lnTo>
                <a:lnTo>
                  <a:pt x="6012" y="2118"/>
                </a:lnTo>
                <a:lnTo>
                  <a:pt x="6012" y="2100"/>
                </a:lnTo>
                <a:lnTo>
                  <a:pt x="6006" y="2082"/>
                </a:lnTo>
                <a:lnTo>
                  <a:pt x="6006" y="2076"/>
                </a:lnTo>
                <a:lnTo>
                  <a:pt x="6000" y="2058"/>
                </a:lnTo>
                <a:lnTo>
                  <a:pt x="6018" y="2022"/>
                </a:lnTo>
                <a:lnTo>
                  <a:pt x="6012" y="2016"/>
                </a:lnTo>
                <a:lnTo>
                  <a:pt x="6006" y="2004"/>
                </a:lnTo>
                <a:lnTo>
                  <a:pt x="6006" y="1992"/>
                </a:lnTo>
                <a:lnTo>
                  <a:pt x="6012" y="1986"/>
                </a:lnTo>
                <a:lnTo>
                  <a:pt x="6018" y="1968"/>
                </a:lnTo>
                <a:lnTo>
                  <a:pt x="6018" y="1950"/>
                </a:lnTo>
                <a:lnTo>
                  <a:pt x="6024" y="1932"/>
                </a:lnTo>
                <a:lnTo>
                  <a:pt x="6030" y="1920"/>
                </a:lnTo>
                <a:lnTo>
                  <a:pt x="6030" y="1896"/>
                </a:lnTo>
                <a:lnTo>
                  <a:pt x="6048" y="1890"/>
                </a:lnTo>
                <a:lnTo>
                  <a:pt x="6048" y="1842"/>
                </a:lnTo>
                <a:lnTo>
                  <a:pt x="6048" y="1824"/>
                </a:lnTo>
                <a:lnTo>
                  <a:pt x="6054" y="1800"/>
                </a:lnTo>
                <a:lnTo>
                  <a:pt x="6042" y="1782"/>
                </a:lnTo>
                <a:lnTo>
                  <a:pt x="6042" y="1776"/>
                </a:lnTo>
                <a:lnTo>
                  <a:pt x="6054" y="1758"/>
                </a:lnTo>
                <a:lnTo>
                  <a:pt x="6072" y="1746"/>
                </a:lnTo>
                <a:lnTo>
                  <a:pt x="6084" y="1734"/>
                </a:lnTo>
                <a:lnTo>
                  <a:pt x="6084" y="1728"/>
                </a:lnTo>
                <a:lnTo>
                  <a:pt x="6096" y="1734"/>
                </a:lnTo>
                <a:lnTo>
                  <a:pt x="6090" y="1764"/>
                </a:lnTo>
                <a:lnTo>
                  <a:pt x="6084" y="1770"/>
                </a:lnTo>
                <a:lnTo>
                  <a:pt x="6090" y="1782"/>
                </a:lnTo>
                <a:lnTo>
                  <a:pt x="6096" y="1770"/>
                </a:lnTo>
                <a:lnTo>
                  <a:pt x="6102" y="1758"/>
                </a:lnTo>
                <a:lnTo>
                  <a:pt x="6114" y="1740"/>
                </a:lnTo>
                <a:lnTo>
                  <a:pt x="6150" y="1734"/>
                </a:lnTo>
                <a:lnTo>
                  <a:pt x="6162" y="1740"/>
                </a:lnTo>
                <a:lnTo>
                  <a:pt x="6156" y="1758"/>
                </a:lnTo>
                <a:lnTo>
                  <a:pt x="6150" y="1776"/>
                </a:lnTo>
                <a:lnTo>
                  <a:pt x="6144" y="1782"/>
                </a:lnTo>
                <a:lnTo>
                  <a:pt x="6144" y="1788"/>
                </a:lnTo>
                <a:lnTo>
                  <a:pt x="6144" y="1800"/>
                </a:lnTo>
                <a:lnTo>
                  <a:pt x="6150" y="1812"/>
                </a:lnTo>
                <a:lnTo>
                  <a:pt x="6150" y="1800"/>
                </a:lnTo>
                <a:lnTo>
                  <a:pt x="6150" y="1782"/>
                </a:lnTo>
                <a:lnTo>
                  <a:pt x="6156" y="1776"/>
                </a:lnTo>
                <a:lnTo>
                  <a:pt x="6174" y="1776"/>
                </a:lnTo>
                <a:lnTo>
                  <a:pt x="6186" y="1764"/>
                </a:lnTo>
                <a:lnTo>
                  <a:pt x="6186" y="1782"/>
                </a:lnTo>
                <a:lnTo>
                  <a:pt x="6192" y="1788"/>
                </a:lnTo>
                <a:lnTo>
                  <a:pt x="6198" y="1770"/>
                </a:lnTo>
                <a:lnTo>
                  <a:pt x="6204" y="1770"/>
                </a:lnTo>
                <a:lnTo>
                  <a:pt x="6204" y="1788"/>
                </a:lnTo>
                <a:lnTo>
                  <a:pt x="6204" y="1794"/>
                </a:lnTo>
                <a:lnTo>
                  <a:pt x="6204" y="1812"/>
                </a:lnTo>
                <a:lnTo>
                  <a:pt x="6216" y="1824"/>
                </a:lnTo>
                <a:lnTo>
                  <a:pt x="6234" y="1824"/>
                </a:lnTo>
                <a:lnTo>
                  <a:pt x="6228" y="1830"/>
                </a:lnTo>
                <a:lnTo>
                  <a:pt x="6204" y="1824"/>
                </a:lnTo>
                <a:lnTo>
                  <a:pt x="6204" y="1830"/>
                </a:lnTo>
                <a:lnTo>
                  <a:pt x="6222" y="1836"/>
                </a:lnTo>
                <a:lnTo>
                  <a:pt x="6228" y="1842"/>
                </a:lnTo>
                <a:lnTo>
                  <a:pt x="6240" y="1842"/>
                </a:lnTo>
                <a:lnTo>
                  <a:pt x="6252" y="1842"/>
                </a:lnTo>
                <a:lnTo>
                  <a:pt x="6258" y="1842"/>
                </a:lnTo>
                <a:lnTo>
                  <a:pt x="6246" y="1836"/>
                </a:lnTo>
                <a:lnTo>
                  <a:pt x="6246" y="1830"/>
                </a:lnTo>
                <a:lnTo>
                  <a:pt x="6252" y="1830"/>
                </a:lnTo>
                <a:lnTo>
                  <a:pt x="6270" y="1812"/>
                </a:lnTo>
                <a:lnTo>
                  <a:pt x="6270" y="1800"/>
                </a:lnTo>
                <a:lnTo>
                  <a:pt x="6276" y="1794"/>
                </a:lnTo>
                <a:lnTo>
                  <a:pt x="6282" y="1800"/>
                </a:lnTo>
                <a:lnTo>
                  <a:pt x="6288" y="1800"/>
                </a:lnTo>
                <a:lnTo>
                  <a:pt x="6276" y="1806"/>
                </a:lnTo>
                <a:lnTo>
                  <a:pt x="6276" y="1824"/>
                </a:lnTo>
                <a:lnTo>
                  <a:pt x="6288" y="1818"/>
                </a:lnTo>
                <a:lnTo>
                  <a:pt x="6318" y="1782"/>
                </a:lnTo>
                <a:lnTo>
                  <a:pt x="6330" y="1770"/>
                </a:lnTo>
                <a:lnTo>
                  <a:pt x="6330" y="1776"/>
                </a:lnTo>
                <a:lnTo>
                  <a:pt x="6330" y="1782"/>
                </a:lnTo>
                <a:lnTo>
                  <a:pt x="6336" y="1788"/>
                </a:lnTo>
                <a:lnTo>
                  <a:pt x="6348" y="1782"/>
                </a:lnTo>
                <a:lnTo>
                  <a:pt x="6372" y="1794"/>
                </a:lnTo>
                <a:lnTo>
                  <a:pt x="6378" y="1806"/>
                </a:lnTo>
                <a:lnTo>
                  <a:pt x="6390" y="1818"/>
                </a:lnTo>
                <a:lnTo>
                  <a:pt x="6390" y="1830"/>
                </a:lnTo>
                <a:lnTo>
                  <a:pt x="6402" y="1836"/>
                </a:lnTo>
                <a:lnTo>
                  <a:pt x="6408" y="1836"/>
                </a:lnTo>
                <a:lnTo>
                  <a:pt x="6402" y="1824"/>
                </a:lnTo>
                <a:lnTo>
                  <a:pt x="6408" y="1818"/>
                </a:lnTo>
                <a:lnTo>
                  <a:pt x="6420" y="1824"/>
                </a:lnTo>
                <a:lnTo>
                  <a:pt x="6432" y="1812"/>
                </a:lnTo>
                <a:lnTo>
                  <a:pt x="6438" y="1818"/>
                </a:lnTo>
                <a:lnTo>
                  <a:pt x="6438" y="1836"/>
                </a:lnTo>
                <a:lnTo>
                  <a:pt x="6456" y="1854"/>
                </a:lnTo>
                <a:lnTo>
                  <a:pt x="6450" y="1872"/>
                </a:lnTo>
                <a:lnTo>
                  <a:pt x="6456" y="1866"/>
                </a:lnTo>
                <a:lnTo>
                  <a:pt x="6462" y="1866"/>
                </a:lnTo>
                <a:lnTo>
                  <a:pt x="6462" y="1878"/>
                </a:lnTo>
                <a:lnTo>
                  <a:pt x="6456" y="1884"/>
                </a:lnTo>
                <a:lnTo>
                  <a:pt x="6462" y="1884"/>
                </a:lnTo>
                <a:lnTo>
                  <a:pt x="6468" y="1896"/>
                </a:lnTo>
                <a:lnTo>
                  <a:pt x="6474" y="1902"/>
                </a:lnTo>
                <a:lnTo>
                  <a:pt x="6480" y="1908"/>
                </a:lnTo>
                <a:lnTo>
                  <a:pt x="6474" y="1914"/>
                </a:lnTo>
                <a:lnTo>
                  <a:pt x="6480" y="1920"/>
                </a:lnTo>
                <a:lnTo>
                  <a:pt x="6486" y="1932"/>
                </a:lnTo>
                <a:lnTo>
                  <a:pt x="6468" y="1926"/>
                </a:lnTo>
                <a:lnTo>
                  <a:pt x="6462" y="1938"/>
                </a:lnTo>
                <a:lnTo>
                  <a:pt x="6456" y="1944"/>
                </a:lnTo>
                <a:lnTo>
                  <a:pt x="6450" y="1950"/>
                </a:lnTo>
                <a:lnTo>
                  <a:pt x="6444" y="1956"/>
                </a:lnTo>
                <a:lnTo>
                  <a:pt x="6450" y="1968"/>
                </a:lnTo>
                <a:lnTo>
                  <a:pt x="6438" y="1968"/>
                </a:lnTo>
                <a:lnTo>
                  <a:pt x="6438" y="1980"/>
                </a:lnTo>
                <a:lnTo>
                  <a:pt x="6420" y="1992"/>
                </a:lnTo>
                <a:lnTo>
                  <a:pt x="6432" y="2004"/>
                </a:lnTo>
                <a:lnTo>
                  <a:pt x="6438" y="2010"/>
                </a:lnTo>
                <a:lnTo>
                  <a:pt x="6426" y="2016"/>
                </a:lnTo>
                <a:lnTo>
                  <a:pt x="6420" y="2034"/>
                </a:lnTo>
                <a:lnTo>
                  <a:pt x="6426" y="2034"/>
                </a:lnTo>
                <a:lnTo>
                  <a:pt x="6432" y="2040"/>
                </a:lnTo>
                <a:lnTo>
                  <a:pt x="6450" y="2028"/>
                </a:lnTo>
                <a:lnTo>
                  <a:pt x="6456" y="2028"/>
                </a:lnTo>
                <a:lnTo>
                  <a:pt x="6462" y="2034"/>
                </a:lnTo>
                <a:lnTo>
                  <a:pt x="6450" y="2052"/>
                </a:lnTo>
                <a:lnTo>
                  <a:pt x="6456" y="2052"/>
                </a:lnTo>
                <a:lnTo>
                  <a:pt x="6474" y="2046"/>
                </a:lnTo>
                <a:lnTo>
                  <a:pt x="6492" y="2052"/>
                </a:lnTo>
                <a:lnTo>
                  <a:pt x="6492" y="2058"/>
                </a:lnTo>
                <a:lnTo>
                  <a:pt x="6480" y="2058"/>
                </a:lnTo>
                <a:lnTo>
                  <a:pt x="6474" y="2070"/>
                </a:lnTo>
                <a:lnTo>
                  <a:pt x="6480" y="2082"/>
                </a:lnTo>
                <a:lnTo>
                  <a:pt x="6492" y="2076"/>
                </a:lnTo>
                <a:lnTo>
                  <a:pt x="6534" y="2112"/>
                </a:lnTo>
                <a:lnTo>
                  <a:pt x="6558" y="2118"/>
                </a:lnTo>
                <a:lnTo>
                  <a:pt x="6552" y="2124"/>
                </a:lnTo>
                <a:lnTo>
                  <a:pt x="6558" y="2142"/>
                </a:lnTo>
                <a:lnTo>
                  <a:pt x="6558" y="2160"/>
                </a:lnTo>
                <a:lnTo>
                  <a:pt x="6552" y="2160"/>
                </a:lnTo>
                <a:lnTo>
                  <a:pt x="6540" y="2184"/>
                </a:lnTo>
                <a:lnTo>
                  <a:pt x="6534" y="2226"/>
                </a:lnTo>
                <a:lnTo>
                  <a:pt x="6498" y="2268"/>
                </a:lnTo>
                <a:lnTo>
                  <a:pt x="6456" y="2286"/>
                </a:lnTo>
                <a:lnTo>
                  <a:pt x="6438" y="2280"/>
                </a:lnTo>
                <a:lnTo>
                  <a:pt x="6432" y="2286"/>
                </a:lnTo>
                <a:lnTo>
                  <a:pt x="6444" y="2310"/>
                </a:lnTo>
                <a:lnTo>
                  <a:pt x="6444" y="2298"/>
                </a:lnTo>
                <a:lnTo>
                  <a:pt x="6450" y="2298"/>
                </a:lnTo>
                <a:lnTo>
                  <a:pt x="6456" y="2334"/>
                </a:lnTo>
                <a:lnTo>
                  <a:pt x="6462" y="2334"/>
                </a:lnTo>
                <a:lnTo>
                  <a:pt x="6480" y="2334"/>
                </a:lnTo>
                <a:lnTo>
                  <a:pt x="6486" y="2340"/>
                </a:lnTo>
                <a:lnTo>
                  <a:pt x="6486" y="2352"/>
                </a:lnTo>
                <a:lnTo>
                  <a:pt x="6480" y="2352"/>
                </a:lnTo>
                <a:lnTo>
                  <a:pt x="6474" y="2364"/>
                </a:lnTo>
                <a:lnTo>
                  <a:pt x="6462" y="2388"/>
                </a:lnTo>
                <a:lnTo>
                  <a:pt x="6462" y="2406"/>
                </a:lnTo>
                <a:lnTo>
                  <a:pt x="6492" y="2412"/>
                </a:lnTo>
                <a:lnTo>
                  <a:pt x="6498" y="2424"/>
                </a:lnTo>
                <a:lnTo>
                  <a:pt x="6504" y="2424"/>
                </a:lnTo>
                <a:lnTo>
                  <a:pt x="6516" y="2418"/>
                </a:lnTo>
                <a:lnTo>
                  <a:pt x="6528" y="2418"/>
                </a:lnTo>
                <a:lnTo>
                  <a:pt x="6534" y="2418"/>
                </a:lnTo>
                <a:lnTo>
                  <a:pt x="6540" y="2430"/>
                </a:lnTo>
                <a:lnTo>
                  <a:pt x="6528" y="2448"/>
                </a:lnTo>
                <a:lnTo>
                  <a:pt x="6540" y="2448"/>
                </a:lnTo>
                <a:lnTo>
                  <a:pt x="6552" y="2460"/>
                </a:lnTo>
                <a:lnTo>
                  <a:pt x="6552" y="2448"/>
                </a:lnTo>
                <a:lnTo>
                  <a:pt x="6558" y="2454"/>
                </a:lnTo>
                <a:lnTo>
                  <a:pt x="6564" y="2496"/>
                </a:lnTo>
                <a:lnTo>
                  <a:pt x="6564" y="2502"/>
                </a:lnTo>
                <a:lnTo>
                  <a:pt x="6570" y="2514"/>
                </a:lnTo>
                <a:lnTo>
                  <a:pt x="6588" y="2520"/>
                </a:lnTo>
                <a:lnTo>
                  <a:pt x="6594" y="2532"/>
                </a:lnTo>
                <a:lnTo>
                  <a:pt x="6600" y="2580"/>
                </a:lnTo>
                <a:lnTo>
                  <a:pt x="6618" y="2598"/>
                </a:lnTo>
                <a:lnTo>
                  <a:pt x="6612" y="2616"/>
                </a:lnTo>
                <a:lnTo>
                  <a:pt x="6624" y="2610"/>
                </a:lnTo>
                <a:lnTo>
                  <a:pt x="6636" y="2586"/>
                </a:lnTo>
                <a:lnTo>
                  <a:pt x="6624" y="2586"/>
                </a:lnTo>
                <a:lnTo>
                  <a:pt x="6654" y="2574"/>
                </a:lnTo>
                <a:lnTo>
                  <a:pt x="6678" y="2550"/>
                </a:lnTo>
                <a:lnTo>
                  <a:pt x="6678" y="2514"/>
                </a:lnTo>
                <a:lnTo>
                  <a:pt x="6684" y="2496"/>
                </a:lnTo>
                <a:lnTo>
                  <a:pt x="6690" y="2484"/>
                </a:lnTo>
                <a:lnTo>
                  <a:pt x="6690" y="2466"/>
                </a:lnTo>
                <a:lnTo>
                  <a:pt x="6696" y="2454"/>
                </a:lnTo>
                <a:lnTo>
                  <a:pt x="6714" y="2436"/>
                </a:lnTo>
                <a:lnTo>
                  <a:pt x="6732" y="2436"/>
                </a:lnTo>
                <a:lnTo>
                  <a:pt x="6738" y="2436"/>
                </a:lnTo>
                <a:lnTo>
                  <a:pt x="6750" y="2454"/>
                </a:lnTo>
                <a:lnTo>
                  <a:pt x="6774" y="2460"/>
                </a:lnTo>
                <a:lnTo>
                  <a:pt x="6810" y="2460"/>
                </a:lnTo>
                <a:lnTo>
                  <a:pt x="6840" y="2466"/>
                </a:lnTo>
                <a:lnTo>
                  <a:pt x="6852" y="2466"/>
                </a:lnTo>
                <a:lnTo>
                  <a:pt x="6864" y="2466"/>
                </a:lnTo>
                <a:lnTo>
                  <a:pt x="6888" y="2448"/>
                </a:lnTo>
                <a:lnTo>
                  <a:pt x="6882" y="2436"/>
                </a:lnTo>
                <a:lnTo>
                  <a:pt x="6888" y="2436"/>
                </a:lnTo>
                <a:lnTo>
                  <a:pt x="6900" y="2442"/>
                </a:lnTo>
                <a:lnTo>
                  <a:pt x="6918" y="2430"/>
                </a:lnTo>
                <a:lnTo>
                  <a:pt x="6930" y="2424"/>
                </a:lnTo>
                <a:lnTo>
                  <a:pt x="6942" y="2406"/>
                </a:lnTo>
                <a:lnTo>
                  <a:pt x="6960" y="2400"/>
                </a:lnTo>
                <a:lnTo>
                  <a:pt x="6978" y="2382"/>
                </a:lnTo>
                <a:lnTo>
                  <a:pt x="6984" y="2370"/>
                </a:lnTo>
                <a:lnTo>
                  <a:pt x="6990" y="2364"/>
                </a:lnTo>
                <a:lnTo>
                  <a:pt x="7002" y="2364"/>
                </a:lnTo>
                <a:lnTo>
                  <a:pt x="7008" y="2358"/>
                </a:lnTo>
                <a:lnTo>
                  <a:pt x="7014" y="2352"/>
                </a:lnTo>
                <a:lnTo>
                  <a:pt x="7026" y="2346"/>
                </a:lnTo>
                <a:lnTo>
                  <a:pt x="7050" y="2340"/>
                </a:lnTo>
                <a:lnTo>
                  <a:pt x="7098" y="2340"/>
                </a:lnTo>
                <a:lnTo>
                  <a:pt x="7110" y="2340"/>
                </a:lnTo>
                <a:lnTo>
                  <a:pt x="7122" y="2352"/>
                </a:lnTo>
                <a:lnTo>
                  <a:pt x="7134" y="2364"/>
                </a:lnTo>
                <a:lnTo>
                  <a:pt x="7152" y="2400"/>
                </a:lnTo>
                <a:lnTo>
                  <a:pt x="7170" y="2412"/>
                </a:lnTo>
                <a:lnTo>
                  <a:pt x="7206" y="2418"/>
                </a:lnTo>
                <a:lnTo>
                  <a:pt x="7248" y="2412"/>
                </a:lnTo>
                <a:lnTo>
                  <a:pt x="7278" y="2424"/>
                </a:lnTo>
                <a:lnTo>
                  <a:pt x="7284" y="2424"/>
                </a:lnTo>
                <a:lnTo>
                  <a:pt x="7308" y="2424"/>
                </a:lnTo>
                <a:lnTo>
                  <a:pt x="7314" y="2424"/>
                </a:lnTo>
                <a:lnTo>
                  <a:pt x="7290" y="2442"/>
                </a:lnTo>
                <a:lnTo>
                  <a:pt x="7266" y="2442"/>
                </a:lnTo>
                <a:lnTo>
                  <a:pt x="7254" y="2442"/>
                </a:lnTo>
                <a:lnTo>
                  <a:pt x="7242" y="2448"/>
                </a:lnTo>
                <a:lnTo>
                  <a:pt x="7200" y="2448"/>
                </a:lnTo>
                <a:lnTo>
                  <a:pt x="7182" y="2448"/>
                </a:lnTo>
                <a:lnTo>
                  <a:pt x="7164" y="2448"/>
                </a:lnTo>
                <a:lnTo>
                  <a:pt x="7140" y="2448"/>
                </a:lnTo>
                <a:lnTo>
                  <a:pt x="7134" y="2454"/>
                </a:lnTo>
                <a:lnTo>
                  <a:pt x="7128" y="2454"/>
                </a:lnTo>
                <a:lnTo>
                  <a:pt x="7110" y="2454"/>
                </a:lnTo>
                <a:lnTo>
                  <a:pt x="7092" y="2460"/>
                </a:lnTo>
                <a:lnTo>
                  <a:pt x="7092" y="2466"/>
                </a:lnTo>
                <a:lnTo>
                  <a:pt x="7068" y="2478"/>
                </a:lnTo>
                <a:lnTo>
                  <a:pt x="7056" y="2472"/>
                </a:lnTo>
                <a:lnTo>
                  <a:pt x="7044" y="2478"/>
                </a:lnTo>
                <a:lnTo>
                  <a:pt x="7044" y="2472"/>
                </a:lnTo>
                <a:lnTo>
                  <a:pt x="7032" y="2478"/>
                </a:lnTo>
                <a:lnTo>
                  <a:pt x="6996" y="2478"/>
                </a:lnTo>
                <a:lnTo>
                  <a:pt x="6966" y="2484"/>
                </a:lnTo>
                <a:lnTo>
                  <a:pt x="6954" y="2496"/>
                </a:lnTo>
                <a:lnTo>
                  <a:pt x="6942" y="2496"/>
                </a:lnTo>
                <a:lnTo>
                  <a:pt x="6930" y="2502"/>
                </a:lnTo>
                <a:lnTo>
                  <a:pt x="6924" y="2508"/>
                </a:lnTo>
                <a:lnTo>
                  <a:pt x="6930" y="2520"/>
                </a:lnTo>
                <a:lnTo>
                  <a:pt x="6936" y="2520"/>
                </a:lnTo>
                <a:lnTo>
                  <a:pt x="6942" y="2526"/>
                </a:lnTo>
                <a:lnTo>
                  <a:pt x="6948" y="2538"/>
                </a:lnTo>
                <a:lnTo>
                  <a:pt x="6954" y="2550"/>
                </a:lnTo>
                <a:lnTo>
                  <a:pt x="6954" y="2574"/>
                </a:lnTo>
                <a:lnTo>
                  <a:pt x="6954" y="2592"/>
                </a:lnTo>
                <a:lnTo>
                  <a:pt x="6954" y="2622"/>
                </a:lnTo>
                <a:lnTo>
                  <a:pt x="6942" y="2640"/>
                </a:lnTo>
                <a:lnTo>
                  <a:pt x="6924" y="2652"/>
                </a:lnTo>
                <a:lnTo>
                  <a:pt x="6918" y="2658"/>
                </a:lnTo>
                <a:lnTo>
                  <a:pt x="6882" y="2670"/>
                </a:lnTo>
                <a:lnTo>
                  <a:pt x="6876" y="2670"/>
                </a:lnTo>
                <a:lnTo>
                  <a:pt x="6876" y="2676"/>
                </a:lnTo>
                <a:lnTo>
                  <a:pt x="6858" y="2682"/>
                </a:lnTo>
                <a:lnTo>
                  <a:pt x="6846" y="2688"/>
                </a:lnTo>
                <a:lnTo>
                  <a:pt x="6840" y="2688"/>
                </a:lnTo>
                <a:lnTo>
                  <a:pt x="6834" y="2688"/>
                </a:lnTo>
                <a:lnTo>
                  <a:pt x="6828" y="2694"/>
                </a:lnTo>
                <a:lnTo>
                  <a:pt x="6822" y="2694"/>
                </a:lnTo>
                <a:lnTo>
                  <a:pt x="6816" y="2700"/>
                </a:lnTo>
                <a:lnTo>
                  <a:pt x="6786" y="2700"/>
                </a:lnTo>
                <a:lnTo>
                  <a:pt x="6762" y="2694"/>
                </a:lnTo>
                <a:lnTo>
                  <a:pt x="6732" y="2706"/>
                </a:lnTo>
                <a:lnTo>
                  <a:pt x="6720" y="2724"/>
                </a:lnTo>
                <a:lnTo>
                  <a:pt x="6726" y="2730"/>
                </a:lnTo>
                <a:lnTo>
                  <a:pt x="6732" y="2742"/>
                </a:lnTo>
                <a:lnTo>
                  <a:pt x="6738" y="2754"/>
                </a:lnTo>
                <a:lnTo>
                  <a:pt x="6738" y="2760"/>
                </a:lnTo>
                <a:lnTo>
                  <a:pt x="6756" y="2766"/>
                </a:lnTo>
                <a:lnTo>
                  <a:pt x="6774" y="2766"/>
                </a:lnTo>
                <a:lnTo>
                  <a:pt x="6798" y="2772"/>
                </a:lnTo>
                <a:lnTo>
                  <a:pt x="6798" y="2778"/>
                </a:lnTo>
                <a:lnTo>
                  <a:pt x="6792" y="2784"/>
                </a:lnTo>
                <a:lnTo>
                  <a:pt x="6786" y="2808"/>
                </a:lnTo>
                <a:lnTo>
                  <a:pt x="6780" y="2820"/>
                </a:lnTo>
                <a:lnTo>
                  <a:pt x="6756" y="2838"/>
                </a:lnTo>
                <a:lnTo>
                  <a:pt x="6750" y="2850"/>
                </a:lnTo>
                <a:lnTo>
                  <a:pt x="6756" y="2856"/>
                </a:lnTo>
                <a:lnTo>
                  <a:pt x="6780" y="2856"/>
                </a:lnTo>
                <a:lnTo>
                  <a:pt x="6792" y="2856"/>
                </a:lnTo>
                <a:lnTo>
                  <a:pt x="6798" y="2862"/>
                </a:lnTo>
                <a:lnTo>
                  <a:pt x="6804" y="2874"/>
                </a:lnTo>
                <a:lnTo>
                  <a:pt x="6816" y="2886"/>
                </a:lnTo>
                <a:lnTo>
                  <a:pt x="6828" y="2892"/>
                </a:lnTo>
                <a:lnTo>
                  <a:pt x="6858" y="2898"/>
                </a:lnTo>
                <a:lnTo>
                  <a:pt x="6864" y="2910"/>
                </a:lnTo>
                <a:lnTo>
                  <a:pt x="6864" y="2940"/>
                </a:lnTo>
                <a:lnTo>
                  <a:pt x="6870" y="2946"/>
                </a:lnTo>
                <a:lnTo>
                  <a:pt x="6894" y="2946"/>
                </a:lnTo>
                <a:lnTo>
                  <a:pt x="6912" y="2940"/>
                </a:lnTo>
                <a:lnTo>
                  <a:pt x="6912" y="2934"/>
                </a:lnTo>
                <a:lnTo>
                  <a:pt x="6918" y="2928"/>
                </a:lnTo>
                <a:lnTo>
                  <a:pt x="6930" y="2916"/>
                </a:lnTo>
                <a:lnTo>
                  <a:pt x="6978" y="2904"/>
                </a:lnTo>
                <a:lnTo>
                  <a:pt x="6990" y="2904"/>
                </a:lnTo>
                <a:lnTo>
                  <a:pt x="7008" y="2928"/>
                </a:lnTo>
                <a:lnTo>
                  <a:pt x="7020" y="2940"/>
                </a:lnTo>
                <a:lnTo>
                  <a:pt x="7020" y="2958"/>
                </a:lnTo>
                <a:lnTo>
                  <a:pt x="7026" y="2964"/>
                </a:lnTo>
                <a:lnTo>
                  <a:pt x="7014" y="3018"/>
                </a:lnTo>
                <a:lnTo>
                  <a:pt x="7020" y="3024"/>
                </a:lnTo>
                <a:lnTo>
                  <a:pt x="7020" y="3036"/>
                </a:lnTo>
                <a:lnTo>
                  <a:pt x="7026" y="3036"/>
                </a:lnTo>
                <a:lnTo>
                  <a:pt x="7032" y="3048"/>
                </a:lnTo>
                <a:lnTo>
                  <a:pt x="7026" y="3066"/>
                </a:lnTo>
                <a:lnTo>
                  <a:pt x="7020" y="3096"/>
                </a:lnTo>
                <a:lnTo>
                  <a:pt x="7002" y="3126"/>
                </a:lnTo>
                <a:lnTo>
                  <a:pt x="6984" y="3156"/>
                </a:lnTo>
                <a:lnTo>
                  <a:pt x="6978" y="3174"/>
                </a:lnTo>
                <a:lnTo>
                  <a:pt x="6942" y="3210"/>
                </a:lnTo>
                <a:lnTo>
                  <a:pt x="6882" y="3234"/>
                </a:lnTo>
                <a:lnTo>
                  <a:pt x="6876" y="3240"/>
                </a:lnTo>
                <a:lnTo>
                  <a:pt x="6870" y="3252"/>
                </a:lnTo>
                <a:lnTo>
                  <a:pt x="6858" y="3258"/>
                </a:lnTo>
                <a:lnTo>
                  <a:pt x="6828" y="3258"/>
                </a:lnTo>
                <a:lnTo>
                  <a:pt x="6822" y="3264"/>
                </a:lnTo>
                <a:lnTo>
                  <a:pt x="6810" y="3276"/>
                </a:lnTo>
                <a:lnTo>
                  <a:pt x="6792" y="3300"/>
                </a:lnTo>
                <a:lnTo>
                  <a:pt x="6786" y="3312"/>
                </a:lnTo>
                <a:lnTo>
                  <a:pt x="6792" y="3330"/>
                </a:lnTo>
                <a:lnTo>
                  <a:pt x="6786" y="3330"/>
                </a:lnTo>
                <a:lnTo>
                  <a:pt x="6780" y="3318"/>
                </a:lnTo>
                <a:lnTo>
                  <a:pt x="6774" y="3318"/>
                </a:lnTo>
                <a:lnTo>
                  <a:pt x="6768" y="3330"/>
                </a:lnTo>
                <a:lnTo>
                  <a:pt x="6762" y="3330"/>
                </a:lnTo>
                <a:lnTo>
                  <a:pt x="6762" y="3348"/>
                </a:lnTo>
                <a:lnTo>
                  <a:pt x="6744" y="3354"/>
                </a:lnTo>
                <a:lnTo>
                  <a:pt x="6732" y="3360"/>
                </a:lnTo>
                <a:lnTo>
                  <a:pt x="6714" y="3354"/>
                </a:lnTo>
                <a:lnTo>
                  <a:pt x="6702" y="3360"/>
                </a:lnTo>
                <a:lnTo>
                  <a:pt x="6702" y="3372"/>
                </a:lnTo>
                <a:lnTo>
                  <a:pt x="6714" y="3378"/>
                </a:lnTo>
                <a:lnTo>
                  <a:pt x="6726" y="3378"/>
                </a:lnTo>
                <a:lnTo>
                  <a:pt x="6744" y="3366"/>
                </a:lnTo>
                <a:lnTo>
                  <a:pt x="6804" y="3336"/>
                </a:lnTo>
                <a:lnTo>
                  <a:pt x="6810" y="3336"/>
                </a:lnTo>
                <a:lnTo>
                  <a:pt x="6810" y="3342"/>
                </a:lnTo>
                <a:lnTo>
                  <a:pt x="6792" y="3360"/>
                </a:lnTo>
                <a:lnTo>
                  <a:pt x="6744" y="3384"/>
                </a:lnTo>
                <a:lnTo>
                  <a:pt x="6744" y="3390"/>
                </a:lnTo>
                <a:lnTo>
                  <a:pt x="6744" y="3396"/>
                </a:lnTo>
                <a:lnTo>
                  <a:pt x="6720" y="3414"/>
                </a:lnTo>
                <a:lnTo>
                  <a:pt x="6726" y="3432"/>
                </a:lnTo>
                <a:lnTo>
                  <a:pt x="6732" y="3444"/>
                </a:lnTo>
                <a:lnTo>
                  <a:pt x="6738" y="3444"/>
                </a:lnTo>
                <a:lnTo>
                  <a:pt x="6762" y="3432"/>
                </a:lnTo>
                <a:lnTo>
                  <a:pt x="6786" y="3438"/>
                </a:lnTo>
                <a:lnTo>
                  <a:pt x="6846" y="3426"/>
                </a:lnTo>
                <a:lnTo>
                  <a:pt x="6864" y="3432"/>
                </a:lnTo>
                <a:lnTo>
                  <a:pt x="6858" y="3432"/>
                </a:lnTo>
                <a:lnTo>
                  <a:pt x="6870" y="3432"/>
                </a:lnTo>
                <a:lnTo>
                  <a:pt x="6888" y="3426"/>
                </a:lnTo>
                <a:lnTo>
                  <a:pt x="6924" y="3438"/>
                </a:lnTo>
                <a:lnTo>
                  <a:pt x="6942" y="3438"/>
                </a:lnTo>
                <a:lnTo>
                  <a:pt x="6990" y="3438"/>
                </a:lnTo>
                <a:lnTo>
                  <a:pt x="7014" y="3432"/>
                </a:lnTo>
                <a:lnTo>
                  <a:pt x="7038" y="3432"/>
                </a:lnTo>
                <a:lnTo>
                  <a:pt x="7050" y="3432"/>
                </a:lnTo>
                <a:lnTo>
                  <a:pt x="7062" y="3438"/>
                </a:lnTo>
                <a:lnTo>
                  <a:pt x="7092" y="3444"/>
                </a:lnTo>
                <a:lnTo>
                  <a:pt x="7104" y="3450"/>
                </a:lnTo>
                <a:lnTo>
                  <a:pt x="7104" y="3468"/>
                </a:lnTo>
                <a:lnTo>
                  <a:pt x="7086" y="3480"/>
                </a:lnTo>
                <a:lnTo>
                  <a:pt x="7086" y="3492"/>
                </a:lnTo>
                <a:lnTo>
                  <a:pt x="7062" y="3516"/>
                </a:lnTo>
                <a:lnTo>
                  <a:pt x="7056" y="3522"/>
                </a:lnTo>
                <a:lnTo>
                  <a:pt x="7032" y="3540"/>
                </a:lnTo>
                <a:lnTo>
                  <a:pt x="7020" y="3552"/>
                </a:lnTo>
                <a:lnTo>
                  <a:pt x="7020" y="3564"/>
                </a:lnTo>
                <a:lnTo>
                  <a:pt x="7026" y="3570"/>
                </a:lnTo>
                <a:lnTo>
                  <a:pt x="7026" y="3552"/>
                </a:lnTo>
                <a:lnTo>
                  <a:pt x="7032" y="3552"/>
                </a:lnTo>
                <a:lnTo>
                  <a:pt x="7032" y="3558"/>
                </a:lnTo>
                <a:lnTo>
                  <a:pt x="7038" y="3582"/>
                </a:lnTo>
                <a:lnTo>
                  <a:pt x="7056" y="3624"/>
                </a:lnTo>
                <a:lnTo>
                  <a:pt x="7080" y="3660"/>
                </a:lnTo>
                <a:lnTo>
                  <a:pt x="7080" y="3666"/>
                </a:lnTo>
                <a:lnTo>
                  <a:pt x="7086" y="3672"/>
                </a:lnTo>
                <a:lnTo>
                  <a:pt x="7158" y="3768"/>
                </a:lnTo>
                <a:lnTo>
                  <a:pt x="7188" y="3798"/>
                </a:lnTo>
                <a:lnTo>
                  <a:pt x="7212" y="3816"/>
                </a:lnTo>
                <a:lnTo>
                  <a:pt x="7224" y="3828"/>
                </a:lnTo>
                <a:lnTo>
                  <a:pt x="7230" y="3834"/>
                </a:lnTo>
                <a:lnTo>
                  <a:pt x="7236" y="3840"/>
                </a:lnTo>
                <a:lnTo>
                  <a:pt x="7254" y="3828"/>
                </a:lnTo>
                <a:lnTo>
                  <a:pt x="7278" y="3822"/>
                </a:lnTo>
                <a:lnTo>
                  <a:pt x="7314" y="3834"/>
                </a:lnTo>
                <a:lnTo>
                  <a:pt x="7320" y="3858"/>
                </a:lnTo>
                <a:lnTo>
                  <a:pt x="7326" y="3858"/>
                </a:lnTo>
                <a:lnTo>
                  <a:pt x="7320" y="3870"/>
                </a:lnTo>
                <a:lnTo>
                  <a:pt x="7320" y="3876"/>
                </a:lnTo>
                <a:lnTo>
                  <a:pt x="7314" y="3882"/>
                </a:lnTo>
                <a:lnTo>
                  <a:pt x="7308" y="3888"/>
                </a:lnTo>
                <a:lnTo>
                  <a:pt x="7290" y="3894"/>
                </a:lnTo>
                <a:lnTo>
                  <a:pt x="7290" y="3900"/>
                </a:lnTo>
                <a:lnTo>
                  <a:pt x="7290" y="3906"/>
                </a:lnTo>
                <a:lnTo>
                  <a:pt x="7308" y="3906"/>
                </a:lnTo>
                <a:lnTo>
                  <a:pt x="7308" y="3912"/>
                </a:lnTo>
                <a:lnTo>
                  <a:pt x="7320" y="3912"/>
                </a:lnTo>
                <a:lnTo>
                  <a:pt x="7326" y="3924"/>
                </a:lnTo>
                <a:lnTo>
                  <a:pt x="7332" y="3936"/>
                </a:lnTo>
                <a:lnTo>
                  <a:pt x="7314" y="3990"/>
                </a:lnTo>
                <a:lnTo>
                  <a:pt x="7314" y="3996"/>
                </a:lnTo>
                <a:lnTo>
                  <a:pt x="7326" y="4014"/>
                </a:lnTo>
                <a:lnTo>
                  <a:pt x="7338" y="4008"/>
                </a:lnTo>
                <a:lnTo>
                  <a:pt x="7344" y="3996"/>
                </a:lnTo>
                <a:lnTo>
                  <a:pt x="7356" y="3990"/>
                </a:lnTo>
                <a:lnTo>
                  <a:pt x="7380" y="3972"/>
                </a:lnTo>
                <a:lnTo>
                  <a:pt x="7386" y="3978"/>
                </a:lnTo>
                <a:lnTo>
                  <a:pt x="7404" y="3978"/>
                </a:lnTo>
                <a:lnTo>
                  <a:pt x="7410" y="3984"/>
                </a:lnTo>
                <a:lnTo>
                  <a:pt x="7416" y="4002"/>
                </a:lnTo>
                <a:lnTo>
                  <a:pt x="7404" y="4026"/>
                </a:lnTo>
                <a:lnTo>
                  <a:pt x="7410" y="4020"/>
                </a:lnTo>
                <a:lnTo>
                  <a:pt x="7416" y="4026"/>
                </a:lnTo>
                <a:lnTo>
                  <a:pt x="7434" y="4062"/>
                </a:lnTo>
                <a:lnTo>
                  <a:pt x="7434" y="4068"/>
                </a:lnTo>
                <a:lnTo>
                  <a:pt x="7416" y="4134"/>
                </a:lnTo>
                <a:lnTo>
                  <a:pt x="7410" y="4140"/>
                </a:lnTo>
                <a:lnTo>
                  <a:pt x="7386" y="4140"/>
                </a:lnTo>
                <a:lnTo>
                  <a:pt x="7380" y="4146"/>
                </a:lnTo>
                <a:lnTo>
                  <a:pt x="7374" y="4152"/>
                </a:lnTo>
                <a:lnTo>
                  <a:pt x="7380" y="4164"/>
                </a:lnTo>
                <a:lnTo>
                  <a:pt x="7380" y="4176"/>
                </a:lnTo>
                <a:lnTo>
                  <a:pt x="7374" y="4182"/>
                </a:lnTo>
                <a:lnTo>
                  <a:pt x="7374" y="4194"/>
                </a:lnTo>
                <a:lnTo>
                  <a:pt x="7368" y="4212"/>
                </a:lnTo>
                <a:lnTo>
                  <a:pt x="7362" y="4218"/>
                </a:lnTo>
                <a:lnTo>
                  <a:pt x="7350" y="4224"/>
                </a:lnTo>
                <a:lnTo>
                  <a:pt x="7344" y="4224"/>
                </a:lnTo>
                <a:lnTo>
                  <a:pt x="7332" y="4230"/>
                </a:lnTo>
                <a:lnTo>
                  <a:pt x="7344" y="4248"/>
                </a:lnTo>
                <a:lnTo>
                  <a:pt x="7338" y="4254"/>
                </a:lnTo>
                <a:lnTo>
                  <a:pt x="7332" y="4260"/>
                </a:lnTo>
                <a:lnTo>
                  <a:pt x="7326" y="4272"/>
                </a:lnTo>
                <a:lnTo>
                  <a:pt x="7320" y="4278"/>
                </a:lnTo>
                <a:lnTo>
                  <a:pt x="7320" y="4284"/>
                </a:lnTo>
                <a:lnTo>
                  <a:pt x="7302" y="4296"/>
                </a:lnTo>
                <a:lnTo>
                  <a:pt x="7284" y="4290"/>
                </a:lnTo>
                <a:lnTo>
                  <a:pt x="7272" y="4296"/>
                </a:lnTo>
                <a:lnTo>
                  <a:pt x="7260" y="4284"/>
                </a:lnTo>
                <a:lnTo>
                  <a:pt x="7254" y="4284"/>
                </a:lnTo>
                <a:lnTo>
                  <a:pt x="7206" y="4266"/>
                </a:lnTo>
                <a:lnTo>
                  <a:pt x="7200" y="4266"/>
                </a:lnTo>
                <a:lnTo>
                  <a:pt x="7200" y="4272"/>
                </a:lnTo>
                <a:lnTo>
                  <a:pt x="7194" y="4272"/>
                </a:lnTo>
                <a:lnTo>
                  <a:pt x="7194" y="4284"/>
                </a:lnTo>
                <a:lnTo>
                  <a:pt x="7218" y="4296"/>
                </a:lnTo>
                <a:lnTo>
                  <a:pt x="7230" y="4314"/>
                </a:lnTo>
                <a:lnTo>
                  <a:pt x="7248" y="4320"/>
                </a:lnTo>
                <a:lnTo>
                  <a:pt x="7254" y="4326"/>
                </a:lnTo>
                <a:lnTo>
                  <a:pt x="7260" y="4338"/>
                </a:lnTo>
                <a:lnTo>
                  <a:pt x="7260" y="4350"/>
                </a:lnTo>
                <a:lnTo>
                  <a:pt x="7242" y="4356"/>
                </a:lnTo>
                <a:lnTo>
                  <a:pt x="7236" y="4368"/>
                </a:lnTo>
                <a:lnTo>
                  <a:pt x="7218" y="4374"/>
                </a:lnTo>
                <a:lnTo>
                  <a:pt x="7212" y="4368"/>
                </a:lnTo>
                <a:lnTo>
                  <a:pt x="7206" y="4368"/>
                </a:lnTo>
                <a:lnTo>
                  <a:pt x="7194" y="4362"/>
                </a:lnTo>
                <a:lnTo>
                  <a:pt x="7152" y="4344"/>
                </a:lnTo>
                <a:lnTo>
                  <a:pt x="7146" y="4344"/>
                </a:lnTo>
                <a:lnTo>
                  <a:pt x="7116" y="4356"/>
                </a:lnTo>
                <a:lnTo>
                  <a:pt x="7086" y="4362"/>
                </a:lnTo>
                <a:lnTo>
                  <a:pt x="7062" y="4356"/>
                </a:lnTo>
                <a:lnTo>
                  <a:pt x="7050" y="4362"/>
                </a:lnTo>
                <a:lnTo>
                  <a:pt x="7038" y="4374"/>
                </a:lnTo>
                <a:lnTo>
                  <a:pt x="7032" y="4386"/>
                </a:lnTo>
                <a:lnTo>
                  <a:pt x="7032" y="4392"/>
                </a:lnTo>
                <a:lnTo>
                  <a:pt x="7032" y="4398"/>
                </a:lnTo>
                <a:lnTo>
                  <a:pt x="7062" y="4374"/>
                </a:lnTo>
                <a:lnTo>
                  <a:pt x="7080" y="4380"/>
                </a:lnTo>
                <a:lnTo>
                  <a:pt x="7092" y="4374"/>
                </a:lnTo>
                <a:lnTo>
                  <a:pt x="7122" y="4380"/>
                </a:lnTo>
                <a:lnTo>
                  <a:pt x="7140" y="4374"/>
                </a:lnTo>
                <a:lnTo>
                  <a:pt x="7146" y="4374"/>
                </a:lnTo>
                <a:lnTo>
                  <a:pt x="7182" y="4380"/>
                </a:lnTo>
                <a:lnTo>
                  <a:pt x="7212" y="4410"/>
                </a:lnTo>
                <a:lnTo>
                  <a:pt x="7224" y="4410"/>
                </a:lnTo>
                <a:lnTo>
                  <a:pt x="7242" y="4410"/>
                </a:lnTo>
                <a:lnTo>
                  <a:pt x="7260" y="4404"/>
                </a:lnTo>
                <a:lnTo>
                  <a:pt x="7272" y="4410"/>
                </a:lnTo>
                <a:lnTo>
                  <a:pt x="7284" y="4422"/>
                </a:lnTo>
                <a:lnTo>
                  <a:pt x="7296" y="4434"/>
                </a:lnTo>
                <a:lnTo>
                  <a:pt x="7296" y="4440"/>
                </a:lnTo>
                <a:lnTo>
                  <a:pt x="7314" y="4458"/>
                </a:lnTo>
                <a:lnTo>
                  <a:pt x="7332" y="4476"/>
                </a:lnTo>
                <a:lnTo>
                  <a:pt x="7332" y="4488"/>
                </a:lnTo>
                <a:lnTo>
                  <a:pt x="7314" y="4500"/>
                </a:lnTo>
                <a:lnTo>
                  <a:pt x="7302" y="4512"/>
                </a:lnTo>
                <a:lnTo>
                  <a:pt x="7284" y="4524"/>
                </a:lnTo>
                <a:lnTo>
                  <a:pt x="7266" y="4542"/>
                </a:lnTo>
                <a:lnTo>
                  <a:pt x="7254" y="4548"/>
                </a:lnTo>
                <a:lnTo>
                  <a:pt x="7224" y="4554"/>
                </a:lnTo>
                <a:lnTo>
                  <a:pt x="7200" y="4542"/>
                </a:lnTo>
                <a:lnTo>
                  <a:pt x="7182" y="4542"/>
                </a:lnTo>
                <a:lnTo>
                  <a:pt x="7176" y="4542"/>
                </a:lnTo>
                <a:lnTo>
                  <a:pt x="7158" y="4542"/>
                </a:lnTo>
                <a:lnTo>
                  <a:pt x="7140" y="4536"/>
                </a:lnTo>
                <a:lnTo>
                  <a:pt x="7098" y="4524"/>
                </a:lnTo>
                <a:lnTo>
                  <a:pt x="7068" y="4506"/>
                </a:lnTo>
                <a:lnTo>
                  <a:pt x="7050" y="4512"/>
                </a:lnTo>
                <a:lnTo>
                  <a:pt x="7032" y="4506"/>
                </a:lnTo>
                <a:lnTo>
                  <a:pt x="7026" y="4512"/>
                </a:lnTo>
                <a:lnTo>
                  <a:pt x="6996" y="4506"/>
                </a:lnTo>
                <a:lnTo>
                  <a:pt x="6996" y="4512"/>
                </a:lnTo>
                <a:lnTo>
                  <a:pt x="6996" y="4518"/>
                </a:lnTo>
                <a:lnTo>
                  <a:pt x="7014" y="4518"/>
                </a:lnTo>
                <a:lnTo>
                  <a:pt x="7020" y="4518"/>
                </a:lnTo>
                <a:lnTo>
                  <a:pt x="7032" y="4518"/>
                </a:lnTo>
                <a:lnTo>
                  <a:pt x="7032" y="4524"/>
                </a:lnTo>
                <a:lnTo>
                  <a:pt x="7056" y="4524"/>
                </a:lnTo>
                <a:lnTo>
                  <a:pt x="7086" y="4530"/>
                </a:lnTo>
                <a:lnTo>
                  <a:pt x="7110" y="4542"/>
                </a:lnTo>
                <a:lnTo>
                  <a:pt x="7134" y="4560"/>
                </a:lnTo>
                <a:lnTo>
                  <a:pt x="7158" y="4572"/>
                </a:lnTo>
                <a:lnTo>
                  <a:pt x="7188" y="4572"/>
                </a:lnTo>
                <a:lnTo>
                  <a:pt x="7200" y="4578"/>
                </a:lnTo>
                <a:lnTo>
                  <a:pt x="7212" y="4584"/>
                </a:lnTo>
                <a:lnTo>
                  <a:pt x="7224" y="4578"/>
                </a:lnTo>
                <a:lnTo>
                  <a:pt x="7242" y="4584"/>
                </a:lnTo>
                <a:lnTo>
                  <a:pt x="7248" y="4596"/>
                </a:lnTo>
                <a:lnTo>
                  <a:pt x="7248" y="4602"/>
                </a:lnTo>
                <a:lnTo>
                  <a:pt x="7248" y="4614"/>
                </a:lnTo>
                <a:lnTo>
                  <a:pt x="7236" y="4620"/>
                </a:lnTo>
                <a:lnTo>
                  <a:pt x="7236" y="4626"/>
                </a:lnTo>
                <a:lnTo>
                  <a:pt x="7224" y="4644"/>
                </a:lnTo>
                <a:lnTo>
                  <a:pt x="7212" y="4656"/>
                </a:lnTo>
                <a:lnTo>
                  <a:pt x="7194" y="4662"/>
                </a:lnTo>
                <a:lnTo>
                  <a:pt x="7158" y="4650"/>
                </a:lnTo>
                <a:lnTo>
                  <a:pt x="7146" y="4656"/>
                </a:lnTo>
                <a:lnTo>
                  <a:pt x="7128" y="4662"/>
                </a:lnTo>
                <a:lnTo>
                  <a:pt x="7134" y="4674"/>
                </a:lnTo>
                <a:lnTo>
                  <a:pt x="7146" y="4668"/>
                </a:lnTo>
                <a:lnTo>
                  <a:pt x="7164" y="4668"/>
                </a:lnTo>
                <a:lnTo>
                  <a:pt x="7182" y="4674"/>
                </a:lnTo>
                <a:lnTo>
                  <a:pt x="7200" y="4686"/>
                </a:lnTo>
                <a:lnTo>
                  <a:pt x="7200" y="4692"/>
                </a:lnTo>
                <a:lnTo>
                  <a:pt x="7158" y="4710"/>
                </a:lnTo>
                <a:lnTo>
                  <a:pt x="7158" y="4716"/>
                </a:lnTo>
                <a:lnTo>
                  <a:pt x="7164" y="4722"/>
                </a:lnTo>
                <a:lnTo>
                  <a:pt x="7170" y="4722"/>
                </a:lnTo>
                <a:lnTo>
                  <a:pt x="7188" y="4722"/>
                </a:lnTo>
                <a:lnTo>
                  <a:pt x="7194" y="4722"/>
                </a:lnTo>
                <a:lnTo>
                  <a:pt x="7194" y="4734"/>
                </a:lnTo>
                <a:lnTo>
                  <a:pt x="7188" y="4758"/>
                </a:lnTo>
                <a:lnTo>
                  <a:pt x="7200" y="4758"/>
                </a:lnTo>
                <a:lnTo>
                  <a:pt x="7206" y="4746"/>
                </a:lnTo>
                <a:lnTo>
                  <a:pt x="7224" y="4734"/>
                </a:lnTo>
                <a:lnTo>
                  <a:pt x="7236" y="4716"/>
                </a:lnTo>
                <a:lnTo>
                  <a:pt x="7254" y="4686"/>
                </a:lnTo>
                <a:lnTo>
                  <a:pt x="7272" y="4686"/>
                </a:lnTo>
                <a:lnTo>
                  <a:pt x="7296" y="4662"/>
                </a:lnTo>
                <a:lnTo>
                  <a:pt x="7308" y="4662"/>
                </a:lnTo>
                <a:lnTo>
                  <a:pt x="7308" y="4668"/>
                </a:lnTo>
                <a:lnTo>
                  <a:pt x="7290" y="4698"/>
                </a:lnTo>
                <a:lnTo>
                  <a:pt x="7284" y="4710"/>
                </a:lnTo>
                <a:lnTo>
                  <a:pt x="7284" y="4728"/>
                </a:lnTo>
                <a:lnTo>
                  <a:pt x="7278" y="4734"/>
                </a:lnTo>
                <a:lnTo>
                  <a:pt x="7266" y="4764"/>
                </a:lnTo>
                <a:lnTo>
                  <a:pt x="7260" y="4788"/>
                </a:lnTo>
                <a:lnTo>
                  <a:pt x="7266" y="4794"/>
                </a:lnTo>
                <a:lnTo>
                  <a:pt x="7272" y="4800"/>
                </a:lnTo>
                <a:lnTo>
                  <a:pt x="7278" y="4806"/>
                </a:lnTo>
                <a:lnTo>
                  <a:pt x="7278" y="4812"/>
                </a:lnTo>
                <a:lnTo>
                  <a:pt x="7272" y="4818"/>
                </a:lnTo>
                <a:lnTo>
                  <a:pt x="7266" y="4824"/>
                </a:lnTo>
                <a:lnTo>
                  <a:pt x="7254" y="4836"/>
                </a:lnTo>
                <a:lnTo>
                  <a:pt x="7248" y="4836"/>
                </a:lnTo>
                <a:lnTo>
                  <a:pt x="7242" y="4836"/>
                </a:lnTo>
                <a:lnTo>
                  <a:pt x="7242" y="4842"/>
                </a:lnTo>
                <a:lnTo>
                  <a:pt x="7236" y="4842"/>
                </a:lnTo>
                <a:lnTo>
                  <a:pt x="7230" y="4848"/>
                </a:lnTo>
                <a:lnTo>
                  <a:pt x="7218" y="4854"/>
                </a:lnTo>
                <a:lnTo>
                  <a:pt x="7206" y="4854"/>
                </a:lnTo>
                <a:lnTo>
                  <a:pt x="7176" y="4860"/>
                </a:lnTo>
                <a:lnTo>
                  <a:pt x="7164" y="4860"/>
                </a:lnTo>
                <a:lnTo>
                  <a:pt x="7170" y="4890"/>
                </a:lnTo>
                <a:lnTo>
                  <a:pt x="7164" y="4908"/>
                </a:lnTo>
                <a:lnTo>
                  <a:pt x="7158" y="4914"/>
                </a:lnTo>
                <a:lnTo>
                  <a:pt x="7128" y="4920"/>
                </a:lnTo>
                <a:lnTo>
                  <a:pt x="7098" y="4920"/>
                </a:lnTo>
                <a:lnTo>
                  <a:pt x="7086" y="4914"/>
                </a:lnTo>
                <a:lnTo>
                  <a:pt x="7080" y="4908"/>
                </a:lnTo>
                <a:lnTo>
                  <a:pt x="7038" y="4896"/>
                </a:lnTo>
                <a:lnTo>
                  <a:pt x="7020" y="4884"/>
                </a:lnTo>
                <a:lnTo>
                  <a:pt x="7014" y="4872"/>
                </a:lnTo>
                <a:lnTo>
                  <a:pt x="7014" y="4866"/>
                </a:lnTo>
                <a:lnTo>
                  <a:pt x="7020" y="4860"/>
                </a:lnTo>
                <a:lnTo>
                  <a:pt x="7020" y="4848"/>
                </a:lnTo>
                <a:lnTo>
                  <a:pt x="7002" y="4806"/>
                </a:lnTo>
                <a:lnTo>
                  <a:pt x="6984" y="4770"/>
                </a:lnTo>
                <a:lnTo>
                  <a:pt x="6966" y="4758"/>
                </a:lnTo>
                <a:lnTo>
                  <a:pt x="6942" y="4746"/>
                </a:lnTo>
                <a:lnTo>
                  <a:pt x="6936" y="4734"/>
                </a:lnTo>
                <a:lnTo>
                  <a:pt x="6930" y="4722"/>
                </a:lnTo>
                <a:lnTo>
                  <a:pt x="6930" y="4716"/>
                </a:lnTo>
                <a:lnTo>
                  <a:pt x="6924" y="4710"/>
                </a:lnTo>
                <a:lnTo>
                  <a:pt x="6918" y="4710"/>
                </a:lnTo>
                <a:lnTo>
                  <a:pt x="6918" y="4704"/>
                </a:lnTo>
                <a:lnTo>
                  <a:pt x="6912" y="4692"/>
                </a:lnTo>
                <a:lnTo>
                  <a:pt x="6906" y="4686"/>
                </a:lnTo>
                <a:lnTo>
                  <a:pt x="6900" y="4692"/>
                </a:lnTo>
                <a:lnTo>
                  <a:pt x="6900" y="4704"/>
                </a:lnTo>
                <a:lnTo>
                  <a:pt x="6906" y="4722"/>
                </a:lnTo>
                <a:lnTo>
                  <a:pt x="6906" y="4734"/>
                </a:lnTo>
                <a:lnTo>
                  <a:pt x="6912" y="4752"/>
                </a:lnTo>
                <a:lnTo>
                  <a:pt x="6906" y="4758"/>
                </a:lnTo>
                <a:lnTo>
                  <a:pt x="6900" y="4752"/>
                </a:lnTo>
                <a:lnTo>
                  <a:pt x="6870" y="4740"/>
                </a:lnTo>
                <a:lnTo>
                  <a:pt x="6858" y="4740"/>
                </a:lnTo>
                <a:lnTo>
                  <a:pt x="6828" y="4746"/>
                </a:lnTo>
                <a:lnTo>
                  <a:pt x="6816" y="4740"/>
                </a:lnTo>
                <a:lnTo>
                  <a:pt x="6786" y="4734"/>
                </a:lnTo>
                <a:lnTo>
                  <a:pt x="6756" y="4716"/>
                </a:lnTo>
                <a:lnTo>
                  <a:pt x="6744" y="4710"/>
                </a:lnTo>
                <a:lnTo>
                  <a:pt x="6738" y="4722"/>
                </a:lnTo>
                <a:lnTo>
                  <a:pt x="6738" y="4728"/>
                </a:lnTo>
                <a:lnTo>
                  <a:pt x="6774" y="4752"/>
                </a:lnTo>
                <a:lnTo>
                  <a:pt x="6792" y="4758"/>
                </a:lnTo>
                <a:lnTo>
                  <a:pt x="6810" y="4770"/>
                </a:lnTo>
                <a:lnTo>
                  <a:pt x="6816" y="4770"/>
                </a:lnTo>
                <a:lnTo>
                  <a:pt x="6846" y="4776"/>
                </a:lnTo>
                <a:lnTo>
                  <a:pt x="6852" y="4776"/>
                </a:lnTo>
                <a:lnTo>
                  <a:pt x="6882" y="4800"/>
                </a:lnTo>
                <a:lnTo>
                  <a:pt x="6888" y="4800"/>
                </a:lnTo>
                <a:lnTo>
                  <a:pt x="6900" y="4806"/>
                </a:lnTo>
                <a:lnTo>
                  <a:pt x="6906" y="4818"/>
                </a:lnTo>
                <a:lnTo>
                  <a:pt x="6936" y="4818"/>
                </a:lnTo>
                <a:lnTo>
                  <a:pt x="6942" y="4824"/>
                </a:lnTo>
                <a:lnTo>
                  <a:pt x="6942" y="4836"/>
                </a:lnTo>
                <a:lnTo>
                  <a:pt x="6942" y="4842"/>
                </a:lnTo>
                <a:lnTo>
                  <a:pt x="6948" y="4842"/>
                </a:lnTo>
                <a:lnTo>
                  <a:pt x="6954" y="4860"/>
                </a:lnTo>
                <a:lnTo>
                  <a:pt x="6954" y="4872"/>
                </a:lnTo>
                <a:lnTo>
                  <a:pt x="6960" y="4878"/>
                </a:lnTo>
                <a:lnTo>
                  <a:pt x="6954" y="4884"/>
                </a:lnTo>
                <a:lnTo>
                  <a:pt x="6960" y="4890"/>
                </a:lnTo>
                <a:lnTo>
                  <a:pt x="6990" y="4926"/>
                </a:lnTo>
                <a:lnTo>
                  <a:pt x="6990" y="4944"/>
                </a:lnTo>
                <a:lnTo>
                  <a:pt x="6996" y="4962"/>
                </a:lnTo>
                <a:lnTo>
                  <a:pt x="7014" y="4974"/>
                </a:lnTo>
                <a:lnTo>
                  <a:pt x="7032" y="4980"/>
                </a:lnTo>
                <a:lnTo>
                  <a:pt x="7056" y="4998"/>
                </a:lnTo>
                <a:lnTo>
                  <a:pt x="7062" y="4992"/>
                </a:lnTo>
                <a:lnTo>
                  <a:pt x="7068" y="4998"/>
                </a:lnTo>
                <a:lnTo>
                  <a:pt x="7062" y="5010"/>
                </a:lnTo>
                <a:lnTo>
                  <a:pt x="7056" y="5028"/>
                </a:lnTo>
                <a:lnTo>
                  <a:pt x="7044" y="5034"/>
                </a:lnTo>
                <a:lnTo>
                  <a:pt x="7002" y="5028"/>
                </a:lnTo>
                <a:lnTo>
                  <a:pt x="6990" y="5016"/>
                </a:lnTo>
                <a:lnTo>
                  <a:pt x="6984" y="5022"/>
                </a:lnTo>
                <a:lnTo>
                  <a:pt x="6978" y="5022"/>
                </a:lnTo>
                <a:lnTo>
                  <a:pt x="6966" y="5016"/>
                </a:lnTo>
                <a:lnTo>
                  <a:pt x="6966" y="5010"/>
                </a:lnTo>
                <a:lnTo>
                  <a:pt x="6960" y="5004"/>
                </a:lnTo>
                <a:lnTo>
                  <a:pt x="6942" y="4986"/>
                </a:lnTo>
                <a:lnTo>
                  <a:pt x="6942" y="4980"/>
                </a:lnTo>
                <a:lnTo>
                  <a:pt x="6930" y="4974"/>
                </a:lnTo>
                <a:lnTo>
                  <a:pt x="6924" y="4980"/>
                </a:lnTo>
                <a:lnTo>
                  <a:pt x="6888" y="4968"/>
                </a:lnTo>
                <a:lnTo>
                  <a:pt x="6858" y="4956"/>
                </a:lnTo>
                <a:lnTo>
                  <a:pt x="6840" y="4932"/>
                </a:lnTo>
                <a:lnTo>
                  <a:pt x="6828" y="4920"/>
                </a:lnTo>
                <a:lnTo>
                  <a:pt x="6822" y="4914"/>
                </a:lnTo>
                <a:lnTo>
                  <a:pt x="6816" y="4920"/>
                </a:lnTo>
                <a:lnTo>
                  <a:pt x="6816" y="4938"/>
                </a:lnTo>
                <a:lnTo>
                  <a:pt x="6822" y="4962"/>
                </a:lnTo>
                <a:lnTo>
                  <a:pt x="6828" y="4962"/>
                </a:lnTo>
                <a:lnTo>
                  <a:pt x="6846" y="4974"/>
                </a:lnTo>
                <a:lnTo>
                  <a:pt x="6864" y="4986"/>
                </a:lnTo>
                <a:lnTo>
                  <a:pt x="6900" y="4998"/>
                </a:lnTo>
                <a:lnTo>
                  <a:pt x="6930" y="5022"/>
                </a:lnTo>
                <a:lnTo>
                  <a:pt x="6942" y="5052"/>
                </a:lnTo>
                <a:lnTo>
                  <a:pt x="6954" y="5052"/>
                </a:lnTo>
                <a:lnTo>
                  <a:pt x="6960" y="5064"/>
                </a:lnTo>
                <a:lnTo>
                  <a:pt x="6972" y="5076"/>
                </a:lnTo>
                <a:lnTo>
                  <a:pt x="6972" y="5088"/>
                </a:lnTo>
                <a:lnTo>
                  <a:pt x="6978" y="5094"/>
                </a:lnTo>
                <a:lnTo>
                  <a:pt x="6978" y="5100"/>
                </a:lnTo>
                <a:lnTo>
                  <a:pt x="6972" y="5106"/>
                </a:lnTo>
                <a:lnTo>
                  <a:pt x="6966" y="5118"/>
                </a:lnTo>
                <a:lnTo>
                  <a:pt x="6954" y="5124"/>
                </a:lnTo>
                <a:lnTo>
                  <a:pt x="6942" y="5130"/>
                </a:lnTo>
                <a:lnTo>
                  <a:pt x="6930" y="5130"/>
                </a:lnTo>
                <a:lnTo>
                  <a:pt x="6906" y="5148"/>
                </a:lnTo>
                <a:lnTo>
                  <a:pt x="6900" y="5148"/>
                </a:lnTo>
                <a:lnTo>
                  <a:pt x="6888" y="5136"/>
                </a:lnTo>
                <a:lnTo>
                  <a:pt x="6882" y="5130"/>
                </a:lnTo>
                <a:lnTo>
                  <a:pt x="6876" y="5112"/>
                </a:lnTo>
                <a:lnTo>
                  <a:pt x="6864" y="5106"/>
                </a:lnTo>
                <a:lnTo>
                  <a:pt x="6846" y="5094"/>
                </a:lnTo>
                <a:lnTo>
                  <a:pt x="6834" y="5094"/>
                </a:lnTo>
                <a:lnTo>
                  <a:pt x="6828" y="5100"/>
                </a:lnTo>
                <a:lnTo>
                  <a:pt x="6828" y="5106"/>
                </a:lnTo>
                <a:lnTo>
                  <a:pt x="6846" y="5118"/>
                </a:lnTo>
                <a:lnTo>
                  <a:pt x="6846" y="5124"/>
                </a:lnTo>
                <a:lnTo>
                  <a:pt x="6858" y="5136"/>
                </a:lnTo>
                <a:lnTo>
                  <a:pt x="6858" y="5142"/>
                </a:lnTo>
                <a:lnTo>
                  <a:pt x="6864" y="5148"/>
                </a:lnTo>
                <a:lnTo>
                  <a:pt x="6870" y="5154"/>
                </a:lnTo>
                <a:lnTo>
                  <a:pt x="6876" y="5160"/>
                </a:lnTo>
                <a:lnTo>
                  <a:pt x="6888" y="5166"/>
                </a:lnTo>
                <a:lnTo>
                  <a:pt x="6894" y="5172"/>
                </a:lnTo>
                <a:lnTo>
                  <a:pt x="6888" y="5184"/>
                </a:lnTo>
                <a:lnTo>
                  <a:pt x="6876" y="5190"/>
                </a:lnTo>
                <a:lnTo>
                  <a:pt x="6864" y="5190"/>
                </a:lnTo>
                <a:lnTo>
                  <a:pt x="6858" y="5172"/>
                </a:lnTo>
                <a:lnTo>
                  <a:pt x="6840" y="5178"/>
                </a:lnTo>
                <a:lnTo>
                  <a:pt x="6798" y="5172"/>
                </a:lnTo>
                <a:lnTo>
                  <a:pt x="6786" y="5160"/>
                </a:lnTo>
                <a:lnTo>
                  <a:pt x="6780" y="5160"/>
                </a:lnTo>
                <a:lnTo>
                  <a:pt x="6768" y="5154"/>
                </a:lnTo>
                <a:lnTo>
                  <a:pt x="6762" y="5160"/>
                </a:lnTo>
                <a:lnTo>
                  <a:pt x="6756" y="5160"/>
                </a:lnTo>
                <a:lnTo>
                  <a:pt x="6744" y="5160"/>
                </a:lnTo>
                <a:lnTo>
                  <a:pt x="6720" y="5184"/>
                </a:lnTo>
                <a:lnTo>
                  <a:pt x="6726" y="5190"/>
                </a:lnTo>
                <a:lnTo>
                  <a:pt x="6732" y="5208"/>
                </a:lnTo>
                <a:lnTo>
                  <a:pt x="6732" y="5220"/>
                </a:lnTo>
                <a:lnTo>
                  <a:pt x="6738" y="5232"/>
                </a:lnTo>
                <a:lnTo>
                  <a:pt x="6744" y="5256"/>
                </a:lnTo>
                <a:lnTo>
                  <a:pt x="6726" y="5268"/>
                </a:lnTo>
                <a:lnTo>
                  <a:pt x="6708" y="5274"/>
                </a:lnTo>
                <a:lnTo>
                  <a:pt x="6702" y="5274"/>
                </a:lnTo>
                <a:lnTo>
                  <a:pt x="6684" y="5274"/>
                </a:lnTo>
                <a:lnTo>
                  <a:pt x="6678" y="5280"/>
                </a:lnTo>
                <a:lnTo>
                  <a:pt x="6666" y="5280"/>
                </a:lnTo>
                <a:lnTo>
                  <a:pt x="6660" y="5280"/>
                </a:lnTo>
                <a:lnTo>
                  <a:pt x="6654" y="5274"/>
                </a:lnTo>
                <a:lnTo>
                  <a:pt x="6636" y="5274"/>
                </a:lnTo>
                <a:lnTo>
                  <a:pt x="6618" y="5274"/>
                </a:lnTo>
                <a:lnTo>
                  <a:pt x="6600" y="5274"/>
                </a:lnTo>
                <a:lnTo>
                  <a:pt x="6588" y="5280"/>
                </a:lnTo>
                <a:lnTo>
                  <a:pt x="6582" y="5280"/>
                </a:lnTo>
                <a:lnTo>
                  <a:pt x="6576" y="5280"/>
                </a:lnTo>
                <a:lnTo>
                  <a:pt x="6570" y="5268"/>
                </a:lnTo>
                <a:lnTo>
                  <a:pt x="6546" y="5274"/>
                </a:lnTo>
                <a:lnTo>
                  <a:pt x="6540" y="5262"/>
                </a:lnTo>
                <a:lnTo>
                  <a:pt x="6534" y="5262"/>
                </a:lnTo>
                <a:lnTo>
                  <a:pt x="6522" y="5244"/>
                </a:lnTo>
                <a:lnTo>
                  <a:pt x="6510" y="5238"/>
                </a:lnTo>
                <a:lnTo>
                  <a:pt x="6498" y="5220"/>
                </a:lnTo>
                <a:lnTo>
                  <a:pt x="6492" y="5220"/>
                </a:lnTo>
                <a:lnTo>
                  <a:pt x="6492" y="5214"/>
                </a:lnTo>
                <a:lnTo>
                  <a:pt x="6486" y="5172"/>
                </a:lnTo>
                <a:lnTo>
                  <a:pt x="6474" y="5160"/>
                </a:lnTo>
                <a:lnTo>
                  <a:pt x="6480" y="5136"/>
                </a:lnTo>
                <a:lnTo>
                  <a:pt x="6468" y="5124"/>
                </a:lnTo>
                <a:lnTo>
                  <a:pt x="6468" y="5100"/>
                </a:lnTo>
                <a:lnTo>
                  <a:pt x="6456" y="5070"/>
                </a:lnTo>
                <a:lnTo>
                  <a:pt x="6456" y="5052"/>
                </a:lnTo>
                <a:lnTo>
                  <a:pt x="6450" y="5046"/>
                </a:lnTo>
                <a:lnTo>
                  <a:pt x="6444" y="5046"/>
                </a:lnTo>
                <a:lnTo>
                  <a:pt x="6438" y="5034"/>
                </a:lnTo>
                <a:lnTo>
                  <a:pt x="6426" y="5034"/>
                </a:lnTo>
                <a:lnTo>
                  <a:pt x="6420" y="5040"/>
                </a:lnTo>
                <a:lnTo>
                  <a:pt x="6438" y="5058"/>
                </a:lnTo>
                <a:lnTo>
                  <a:pt x="6432" y="5070"/>
                </a:lnTo>
                <a:lnTo>
                  <a:pt x="6438" y="5082"/>
                </a:lnTo>
                <a:lnTo>
                  <a:pt x="6420" y="5088"/>
                </a:lnTo>
                <a:lnTo>
                  <a:pt x="6420" y="5094"/>
                </a:lnTo>
                <a:lnTo>
                  <a:pt x="6420" y="5100"/>
                </a:lnTo>
                <a:lnTo>
                  <a:pt x="6432" y="5124"/>
                </a:lnTo>
                <a:lnTo>
                  <a:pt x="6444" y="5124"/>
                </a:lnTo>
                <a:lnTo>
                  <a:pt x="6450" y="5136"/>
                </a:lnTo>
                <a:lnTo>
                  <a:pt x="6444" y="5148"/>
                </a:lnTo>
                <a:lnTo>
                  <a:pt x="6456" y="5154"/>
                </a:lnTo>
                <a:lnTo>
                  <a:pt x="6456" y="5160"/>
                </a:lnTo>
                <a:lnTo>
                  <a:pt x="6444" y="5184"/>
                </a:lnTo>
                <a:lnTo>
                  <a:pt x="6456" y="5226"/>
                </a:lnTo>
                <a:lnTo>
                  <a:pt x="6468" y="5238"/>
                </a:lnTo>
                <a:lnTo>
                  <a:pt x="6468" y="5256"/>
                </a:lnTo>
                <a:lnTo>
                  <a:pt x="6486" y="5280"/>
                </a:lnTo>
                <a:lnTo>
                  <a:pt x="6492" y="5298"/>
                </a:lnTo>
                <a:lnTo>
                  <a:pt x="6498" y="5304"/>
                </a:lnTo>
                <a:lnTo>
                  <a:pt x="6510" y="5298"/>
                </a:lnTo>
                <a:lnTo>
                  <a:pt x="6510" y="5316"/>
                </a:lnTo>
                <a:lnTo>
                  <a:pt x="6510" y="5322"/>
                </a:lnTo>
                <a:lnTo>
                  <a:pt x="6498" y="5328"/>
                </a:lnTo>
                <a:lnTo>
                  <a:pt x="6486" y="5328"/>
                </a:lnTo>
                <a:lnTo>
                  <a:pt x="6498" y="5340"/>
                </a:lnTo>
                <a:lnTo>
                  <a:pt x="6498" y="5334"/>
                </a:lnTo>
                <a:lnTo>
                  <a:pt x="6504" y="5340"/>
                </a:lnTo>
                <a:lnTo>
                  <a:pt x="6486" y="5340"/>
                </a:lnTo>
                <a:lnTo>
                  <a:pt x="6468" y="5334"/>
                </a:lnTo>
                <a:lnTo>
                  <a:pt x="6450" y="5316"/>
                </a:lnTo>
                <a:lnTo>
                  <a:pt x="6450" y="5304"/>
                </a:lnTo>
                <a:lnTo>
                  <a:pt x="6444" y="5298"/>
                </a:lnTo>
                <a:lnTo>
                  <a:pt x="6420" y="5292"/>
                </a:lnTo>
                <a:lnTo>
                  <a:pt x="6414" y="5274"/>
                </a:lnTo>
                <a:lnTo>
                  <a:pt x="6408" y="5274"/>
                </a:lnTo>
                <a:lnTo>
                  <a:pt x="6390" y="5268"/>
                </a:lnTo>
                <a:lnTo>
                  <a:pt x="6384" y="5268"/>
                </a:lnTo>
                <a:lnTo>
                  <a:pt x="6378" y="5268"/>
                </a:lnTo>
                <a:lnTo>
                  <a:pt x="6372" y="5268"/>
                </a:lnTo>
                <a:lnTo>
                  <a:pt x="6372" y="5262"/>
                </a:lnTo>
                <a:lnTo>
                  <a:pt x="6366" y="5262"/>
                </a:lnTo>
                <a:lnTo>
                  <a:pt x="6360" y="5262"/>
                </a:lnTo>
                <a:lnTo>
                  <a:pt x="6354" y="5256"/>
                </a:lnTo>
                <a:lnTo>
                  <a:pt x="6342" y="5274"/>
                </a:lnTo>
                <a:lnTo>
                  <a:pt x="6342" y="5286"/>
                </a:lnTo>
                <a:lnTo>
                  <a:pt x="6354" y="5298"/>
                </a:lnTo>
                <a:lnTo>
                  <a:pt x="6366" y="5298"/>
                </a:lnTo>
                <a:lnTo>
                  <a:pt x="6372" y="5310"/>
                </a:lnTo>
                <a:lnTo>
                  <a:pt x="6372" y="5322"/>
                </a:lnTo>
                <a:lnTo>
                  <a:pt x="6384" y="5328"/>
                </a:lnTo>
                <a:lnTo>
                  <a:pt x="6372" y="5370"/>
                </a:lnTo>
                <a:lnTo>
                  <a:pt x="6360" y="5376"/>
                </a:lnTo>
                <a:lnTo>
                  <a:pt x="6354" y="5382"/>
                </a:lnTo>
                <a:lnTo>
                  <a:pt x="6342" y="5382"/>
                </a:lnTo>
                <a:lnTo>
                  <a:pt x="6330" y="5376"/>
                </a:lnTo>
                <a:lnTo>
                  <a:pt x="6318" y="5370"/>
                </a:lnTo>
                <a:lnTo>
                  <a:pt x="6312" y="5376"/>
                </a:lnTo>
                <a:lnTo>
                  <a:pt x="6300" y="5370"/>
                </a:lnTo>
                <a:lnTo>
                  <a:pt x="6306" y="5364"/>
                </a:lnTo>
                <a:lnTo>
                  <a:pt x="6306" y="5358"/>
                </a:lnTo>
                <a:lnTo>
                  <a:pt x="6300" y="5352"/>
                </a:lnTo>
                <a:lnTo>
                  <a:pt x="6294" y="5352"/>
                </a:lnTo>
                <a:lnTo>
                  <a:pt x="6288" y="5352"/>
                </a:lnTo>
                <a:lnTo>
                  <a:pt x="6270" y="5364"/>
                </a:lnTo>
                <a:lnTo>
                  <a:pt x="6264" y="5352"/>
                </a:lnTo>
                <a:lnTo>
                  <a:pt x="6252" y="5358"/>
                </a:lnTo>
                <a:lnTo>
                  <a:pt x="6240" y="5358"/>
                </a:lnTo>
                <a:lnTo>
                  <a:pt x="6234" y="5358"/>
                </a:lnTo>
                <a:lnTo>
                  <a:pt x="6234" y="5370"/>
                </a:lnTo>
                <a:lnTo>
                  <a:pt x="6234" y="5394"/>
                </a:lnTo>
                <a:lnTo>
                  <a:pt x="6234" y="5400"/>
                </a:lnTo>
                <a:lnTo>
                  <a:pt x="6246" y="5394"/>
                </a:lnTo>
                <a:lnTo>
                  <a:pt x="6258" y="5406"/>
                </a:lnTo>
                <a:lnTo>
                  <a:pt x="6252" y="5412"/>
                </a:lnTo>
                <a:lnTo>
                  <a:pt x="6246" y="5418"/>
                </a:lnTo>
                <a:lnTo>
                  <a:pt x="6246" y="5424"/>
                </a:lnTo>
                <a:lnTo>
                  <a:pt x="6252" y="5436"/>
                </a:lnTo>
                <a:lnTo>
                  <a:pt x="6264" y="5448"/>
                </a:lnTo>
                <a:lnTo>
                  <a:pt x="6270" y="5448"/>
                </a:lnTo>
                <a:lnTo>
                  <a:pt x="6282" y="5454"/>
                </a:lnTo>
                <a:lnTo>
                  <a:pt x="6294" y="5448"/>
                </a:lnTo>
                <a:lnTo>
                  <a:pt x="6294" y="5454"/>
                </a:lnTo>
                <a:lnTo>
                  <a:pt x="6270" y="5472"/>
                </a:lnTo>
                <a:lnTo>
                  <a:pt x="6264" y="5484"/>
                </a:lnTo>
                <a:lnTo>
                  <a:pt x="6288" y="5466"/>
                </a:lnTo>
                <a:lnTo>
                  <a:pt x="6312" y="5448"/>
                </a:lnTo>
                <a:lnTo>
                  <a:pt x="6330" y="5442"/>
                </a:lnTo>
                <a:lnTo>
                  <a:pt x="6354" y="5418"/>
                </a:lnTo>
                <a:lnTo>
                  <a:pt x="6372" y="5400"/>
                </a:lnTo>
                <a:lnTo>
                  <a:pt x="6390" y="5400"/>
                </a:lnTo>
                <a:lnTo>
                  <a:pt x="6414" y="5388"/>
                </a:lnTo>
                <a:lnTo>
                  <a:pt x="6420" y="5394"/>
                </a:lnTo>
                <a:lnTo>
                  <a:pt x="6408" y="5400"/>
                </a:lnTo>
                <a:lnTo>
                  <a:pt x="6390" y="5400"/>
                </a:lnTo>
                <a:lnTo>
                  <a:pt x="6360" y="5412"/>
                </a:lnTo>
                <a:lnTo>
                  <a:pt x="6342" y="5430"/>
                </a:lnTo>
                <a:lnTo>
                  <a:pt x="6336" y="5442"/>
                </a:lnTo>
                <a:lnTo>
                  <a:pt x="6306" y="5460"/>
                </a:lnTo>
                <a:lnTo>
                  <a:pt x="6288" y="5472"/>
                </a:lnTo>
                <a:lnTo>
                  <a:pt x="6264" y="5502"/>
                </a:lnTo>
                <a:lnTo>
                  <a:pt x="6270" y="5514"/>
                </a:lnTo>
                <a:lnTo>
                  <a:pt x="6264" y="5526"/>
                </a:lnTo>
                <a:lnTo>
                  <a:pt x="6228" y="5568"/>
                </a:lnTo>
                <a:lnTo>
                  <a:pt x="6216" y="5586"/>
                </a:lnTo>
                <a:lnTo>
                  <a:pt x="6210" y="5604"/>
                </a:lnTo>
                <a:lnTo>
                  <a:pt x="6216" y="5616"/>
                </a:lnTo>
                <a:lnTo>
                  <a:pt x="6210" y="5622"/>
                </a:lnTo>
                <a:lnTo>
                  <a:pt x="6180" y="5628"/>
                </a:lnTo>
                <a:lnTo>
                  <a:pt x="6168" y="5652"/>
                </a:lnTo>
                <a:lnTo>
                  <a:pt x="6156" y="5664"/>
                </a:lnTo>
                <a:lnTo>
                  <a:pt x="6132" y="5652"/>
                </a:lnTo>
                <a:lnTo>
                  <a:pt x="6072" y="5646"/>
                </a:lnTo>
                <a:lnTo>
                  <a:pt x="6048" y="5646"/>
                </a:lnTo>
                <a:lnTo>
                  <a:pt x="6012" y="5646"/>
                </a:lnTo>
                <a:lnTo>
                  <a:pt x="5988" y="5652"/>
                </a:lnTo>
                <a:lnTo>
                  <a:pt x="5994" y="5646"/>
                </a:lnTo>
                <a:lnTo>
                  <a:pt x="6030" y="5640"/>
                </a:lnTo>
                <a:lnTo>
                  <a:pt x="6060" y="5640"/>
                </a:lnTo>
                <a:lnTo>
                  <a:pt x="6102" y="5640"/>
                </a:lnTo>
                <a:lnTo>
                  <a:pt x="6108" y="5640"/>
                </a:lnTo>
                <a:lnTo>
                  <a:pt x="6150" y="5652"/>
                </a:lnTo>
                <a:lnTo>
                  <a:pt x="6144" y="5640"/>
                </a:lnTo>
                <a:lnTo>
                  <a:pt x="6132" y="5628"/>
                </a:lnTo>
                <a:lnTo>
                  <a:pt x="6126" y="5616"/>
                </a:lnTo>
                <a:lnTo>
                  <a:pt x="6120" y="5616"/>
                </a:lnTo>
                <a:lnTo>
                  <a:pt x="6108" y="5598"/>
                </a:lnTo>
                <a:lnTo>
                  <a:pt x="6102" y="5598"/>
                </a:lnTo>
                <a:lnTo>
                  <a:pt x="6084" y="5598"/>
                </a:lnTo>
                <a:lnTo>
                  <a:pt x="6072" y="5592"/>
                </a:lnTo>
                <a:lnTo>
                  <a:pt x="6060" y="5580"/>
                </a:lnTo>
                <a:lnTo>
                  <a:pt x="6048" y="5592"/>
                </a:lnTo>
                <a:lnTo>
                  <a:pt x="6042" y="5604"/>
                </a:lnTo>
                <a:lnTo>
                  <a:pt x="6030" y="5616"/>
                </a:lnTo>
                <a:lnTo>
                  <a:pt x="6036" y="5616"/>
                </a:lnTo>
                <a:lnTo>
                  <a:pt x="6030" y="5628"/>
                </a:lnTo>
                <a:lnTo>
                  <a:pt x="6024" y="5622"/>
                </a:lnTo>
                <a:lnTo>
                  <a:pt x="6006" y="5628"/>
                </a:lnTo>
                <a:lnTo>
                  <a:pt x="6000" y="5628"/>
                </a:lnTo>
                <a:lnTo>
                  <a:pt x="5988" y="5640"/>
                </a:lnTo>
                <a:lnTo>
                  <a:pt x="5982" y="5640"/>
                </a:lnTo>
                <a:lnTo>
                  <a:pt x="5970" y="5646"/>
                </a:lnTo>
                <a:lnTo>
                  <a:pt x="5976" y="5646"/>
                </a:lnTo>
                <a:lnTo>
                  <a:pt x="5982" y="5652"/>
                </a:lnTo>
                <a:lnTo>
                  <a:pt x="5982" y="5658"/>
                </a:lnTo>
                <a:lnTo>
                  <a:pt x="5946" y="5664"/>
                </a:lnTo>
                <a:lnTo>
                  <a:pt x="5922" y="5670"/>
                </a:lnTo>
                <a:lnTo>
                  <a:pt x="5892" y="5676"/>
                </a:lnTo>
                <a:lnTo>
                  <a:pt x="5868" y="5694"/>
                </a:lnTo>
                <a:lnTo>
                  <a:pt x="5844" y="5706"/>
                </a:lnTo>
                <a:lnTo>
                  <a:pt x="5838" y="5724"/>
                </a:lnTo>
                <a:lnTo>
                  <a:pt x="5832" y="5736"/>
                </a:lnTo>
                <a:lnTo>
                  <a:pt x="5832" y="5724"/>
                </a:lnTo>
                <a:lnTo>
                  <a:pt x="5838" y="5706"/>
                </a:lnTo>
                <a:lnTo>
                  <a:pt x="5856" y="5694"/>
                </a:lnTo>
                <a:lnTo>
                  <a:pt x="5862" y="5688"/>
                </a:lnTo>
                <a:lnTo>
                  <a:pt x="5868" y="5676"/>
                </a:lnTo>
                <a:lnTo>
                  <a:pt x="5880" y="5658"/>
                </a:lnTo>
                <a:lnTo>
                  <a:pt x="5850" y="5694"/>
                </a:lnTo>
                <a:lnTo>
                  <a:pt x="5832" y="5694"/>
                </a:lnTo>
                <a:lnTo>
                  <a:pt x="5820" y="5706"/>
                </a:lnTo>
                <a:lnTo>
                  <a:pt x="5814" y="5706"/>
                </a:lnTo>
                <a:lnTo>
                  <a:pt x="5802" y="5718"/>
                </a:lnTo>
                <a:lnTo>
                  <a:pt x="5802" y="5724"/>
                </a:lnTo>
                <a:lnTo>
                  <a:pt x="5796" y="5724"/>
                </a:lnTo>
                <a:lnTo>
                  <a:pt x="5802" y="5730"/>
                </a:lnTo>
                <a:lnTo>
                  <a:pt x="5808" y="5736"/>
                </a:lnTo>
                <a:lnTo>
                  <a:pt x="5814" y="5742"/>
                </a:lnTo>
                <a:lnTo>
                  <a:pt x="5820" y="5742"/>
                </a:lnTo>
                <a:lnTo>
                  <a:pt x="5826" y="5748"/>
                </a:lnTo>
                <a:lnTo>
                  <a:pt x="5838" y="5742"/>
                </a:lnTo>
                <a:lnTo>
                  <a:pt x="5838" y="5748"/>
                </a:lnTo>
                <a:lnTo>
                  <a:pt x="5838" y="5754"/>
                </a:lnTo>
                <a:lnTo>
                  <a:pt x="5838" y="5772"/>
                </a:lnTo>
                <a:lnTo>
                  <a:pt x="5826" y="5772"/>
                </a:lnTo>
                <a:lnTo>
                  <a:pt x="5808" y="5778"/>
                </a:lnTo>
                <a:lnTo>
                  <a:pt x="5802" y="5784"/>
                </a:lnTo>
                <a:lnTo>
                  <a:pt x="5796" y="5796"/>
                </a:lnTo>
                <a:lnTo>
                  <a:pt x="5790" y="5790"/>
                </a:lnTo>
                <a:lnTo>
                  <a:pt x="5766" y="5808"/>
                </a:lnTo>
                <a:lnTo>
                  <a:pt x="5772" y="5820"/>
                </a:lnTo>
                <a:lnTo>
                  <a:pt x="5766" y="5826"/>
                </a:lnTo>
                <a:lnTo>
                  <a:pt x="5760" y="5826"/>
                </a:lnTo>
                <a:lnTo>
                  <a:pt x="5736" y="5820"/>
                </a:lnTo>
                <a:lnTo>
                  <a:pt x="5736" y="5814"/>
                </a:lnTo>
                <a:lnTo>
                  <a:pt x="5724" y="5808"/>
                </a:lnTo>
                <a:lnTo>
                  <a:pt x="5712" y="5802"/>
                </a:lnTo>
                <a:lnTo>
                  <a:pt x="5700" y="5796"/>
                </a:lnTo>
                <a:lnTo>
                  <a:pt x="5658" y="5778"/>
                </a:lnTo>
                <a:lnTo>
                  <a:pt x="5640" y="5772"/>
                </a:lnTo>
                <a:lnTo>
                  <a:pt x="5622" y="5772"/>
                </a:lnTo>
                <a:lnTo>
                  <a:pt x="5598" y="5766"/>
                </a:lnTo>
                <a:lnTo>
                  <a:pt x="5604" y="5766"/>
                </a:lnTo>
                <a:lnTo>
                  <a:pt x="5616" y="5766"/>
                </a:lnTo>
                <a:lnTo>
                  <a:pt x="5646" y="5766"/>
                </a:lnTo>
                <a:lnTo>
                  <a:pt x="5670" y="5772"/>
                </a:lnTo>
                <a:lnTo>
                  <a:pt x="5718" y="5790"/>
                </a:lnTo>
                <a:lnTo>
                  <a:pt x="5724" y="5802"/>
                </a:lnTo>
                <a:lnTo>
                  <a:pt x="5730" y="5802"/>
                </a:lnTo>
                <a:lnTo>
                  <a:pt x="5742" y="5808"/>
                </a:lnTo>
                <a:lnTo>
                  <a:pt x="5748" y="5814"/>
                </a:lnTo>
                <a:lnTo>
                  <a:pt x="5748" y="5808"/>
                </a:lnTo>
                <a:lnTo>
                  <a:pt x="5760" y="5814"/>
                </a:lnTo>
                <a:lnTo>
                  <a:pt x="5760" y="5802"/>
                </a:lnTo>
                <a:lnTo>
                  <a:pt x="5778" y="5790"/>
                </a:lnTo>
                <a:lnTo>
                  <a:pt x="5766" y="5784"/>
                </a:lnTo>
                <a:lnTo>
                  <a:pt x="5754" y="5796"/>
                </a:lnTo>
                <a:lnTo>
                  <a:pt x="5748" y="5796"/>
                </a:lnTo>
                <a:lnTo>
                  <a:pt x="5742" y="5796"/>
                </a:lnTo>
                <a:lnTo>
                  <a:pt x="5724" y="5790"/>
                </a:lnTo>
                <a:lnTo>
                  <a:pt x="5718" y="5784"/>
                </a:lnTo>
                <a:lnTo>
                  <a:pt x="5724" y="5784"/>
                </a:lnTo>
                <a:lnTo>
                  <a:pt x="5730" y="5784"/>
                </a:lnTo>
                <a:lnTo>
                  <a:pt x="5742" y="5778"/>
                </a:lnTo>
                <a:lnTo>
                  <a:pt x="5730" y="5736"/>
                </a:lnTo>
                <a:lnTo>
                  <a:pt x="5712" y="5712"/>
                </a:lnTo>
                <a:lnTo>
                  <a:pt x="5688" y="5700"/>
                </a:lnTo>
                <a:lnTo>
                  <a:pt x="5676" y="5718"/>
                </a:lnTo>
                <a:lnTo>
                  <a:pt x="5664" y="5724"/>
                </a:lnTo>
                <a:lnTo>
                  <a:pt x="5664" y="5718"/>
                </a:lnTo>
                <a:lnTo>
                  <a:pt x="5652" y="5718"/>
                </a:lnTo>
                <a:lnTo>
                  <a:pt x="5652" y="5712"/>
                </a:lnTo>
                <a:lnTo>
                  <a:pt x="5646" y="5700"/>
                </a:lnTo>
                <a:lnTo>
                  <a:pt x="5640" y="5706"/>
                </a:lnTo>
                <a:lnTo>
                  <a:pt x="5634" y="5700"/>
                </a:lnTo>
                <a:lnTo>
                  <a:pt x="5634" y="5694"/>
                </a:lnTo>
                <a:lnTo>
                  <a:pt x="5622" y="5700"/>
                </a:lnTo>
                <a:lnTo>
                  <a:pt x="5628" y="5718"/>
                </a:lnTo>
                <a:lnTo>
                  <a:pt x="5628" y="5730"/>
                </a:lnTo>
                <a:lnTo>
                  <a:pt x="5622" y="5736"/>
                </a:lnTo>
                <a:lnTo>
                  <a:pt x="5616" y="5730"/>
                </a:lnTo>
                <a:lnTo>
                  <a:pt x="5604" y="5736"/>
                </a:lnTo>
                <a:lnTo>
                  <a:pt x="5604" y="5742"/>
                </a:lnTo>
                <a:lnTo>
                  <a:pt x="5598" y="5742"/>
                </a:lnTo>
                <a:lnTo>
                  <a:pt x="5598" y="5736"/>
                </a:lnTo>
                <a:lnTo>
                  <a:pt x="5598" y="5718"/>
                </a:lnTo>
                <a:lnTo>
                  <a:pt x="5604" y="5718"/>
                </a:lnTo>
                <a:lnTo>
                  <a:pt x="5616" y="5694"/>
                </a:lnTo>
                <a:lnTo>
                  <a:pt x="5628" y="5688"/>
                </a:lnTo>
                <a:lnTo>
                  <a:pt x="5616" y="5682"/>
                </a:lnTo>
                <a:lnTo>
                  <a:pt x="5634" y="5682"/>
                </a:lnTo>
                <a:lnTo>
                  <a:pt x="5634" y="5676"/>
                </a:lnTo>
                <a:lnTo>
                  <a:pt x="5628" y="5670"/>
                </a:lnTo>
                <a:lnTo>
                  <a:pt x="5628" y="5664"/>
                </a:lnTo>
                <a:lnTo>
                  <a:pt x="5622" y="5664"/>
                </a:lnTo>
                <a:lnTo>
                  <a:pt x="5622" y="5670"/>
                </a:lnTo>
                <a:lnTo>
                  <a:pt x="5616" y="5676"/>
                </a:lnTo>
                <a:lnTo>
                  <a:pt x="5610" y="5676"/>
                </a:lnTo>
                <a:lnTo>
                  <a:pt x="5598" y="5682"/>
                </a:lnTo>
                <a:lnTo>
                  <a:pt x="5604" y="5664"/>
                </a:lnTo>
                <a:lnTo>
                  <a:pt x="5598" y="5658"/>
                </a:lnTo>
                <a:lnTo>
                  <a:pt x="5592" y="5646"/>
                </a:lnTo>
                <a:lnTo>
                  <a:pt x="5592" y="5634"/>
                </a:lnTo>
                <a:lnTo>
                  <a:pt x="5598" y="5604"/>
                </a:lnTo>
                <a:lnTo>
                  <a:pt x="5592" y="5610"/>
                </a:lnTo>
                <a:lnTo>
                  <a:pt x="5598" y="5592"/>
                </a:lnTo>
                <a:lnTo>
                  <a:pt x="5592" y="5586"/>
                </a:lnTo>
                <a:lnTo>
                  <a:pt x="5586" y="5586"/>
                </a:lnTo>
                <a:lnTo>
                  <a:pt x="5586" y="5598"/>
                </a:lnTo>
                <a:lnTo>
                  <a:pt x="5580" y="5604"/>
                </a:lnTo>
                <a:lnTo>
                  <a:pt x="5580" y="5610"/>
                </a:lnTo>
                <a:lnTo>
                  <a:pt x="5580" y="5616"/>
                </a:lnTo>
                <a:lnTo>
                  <a:pt x="5574" y="5610"/>
                </a:lnTo>
                <a:lnTo>
                  <a:pt x="5574" y="5622"/>
                </a:lnTo>
                <a:lnTo>
                  <a:pt x="5580" y="5634"/>
                </a:lnTo>
                <a:lnTo>
                  <a:pt x="5580" y="5652"/>
                </a:lnTo>
                <a:lnTo>
                  <a:pt x="5568" y="5664"/>
                </a:lnTo>
                <a:lnTo>
                  <a:pt x="5544" y="5634"/>
                </a:lnTo>
                <a:lnTo>
                  <a:pt x="5544" y="5628"/>
                </a:lnTo>
                <a:lnTo>
                  <a:pt x="5544" y="5622"/>
                </a:lnTo>
                <a:lnTo>
                  <a:pt x="5532" y="5622"/>
                </a:lnTo>
                <a:lnTo>
                  <a:pt x="5556" y="5610"/>
                </a:lnTo>
                <a:lnTo>
                  <a:pt x="5568" y="5592"/>
                </a:lnTo>
                <a:lnTo>
                  <a:pt x="5568" y="5580"/>
                </a:lnTo>
                <a:lnTo>
                  <a:pt x="5568" y="5568"/>
                </a:lnTo>
                <a:lnTo>
                  <a:pt x="5568" y="5550"/>
                </a:lnTo>
                <a:lnTo>
                  <a:pt x="5568" y="5538"/>
                </a:lnTo>
                <a:lnTo>
                  <a:pt x="5568" y="5532"/>
                </a:lnTo>
                <a:lnTo>
                  <a:pt x="5562" y="5526"/>
                </a:lnTo>
                <a:lnTo>
                  <a:pt x="5562" y="5532"/>
                </a:lnTo>
                <a:lnTo>
                  <a:pt x="5556" y="5532"/>
                </a:lnTo>
                <a:lnTo>
                  <a:pt x="5544" y="5496"/>
                </a:lnTo>
                <a:lnTo>
                  <a:pt x="5538" y="5478"/>
                </a:lnTo>
                <a:lnTo>
                  <a:pt x="5520" y="5460"/>
                </a:lnTo>
                <a:lnTo>
                  <a:pt x="5514" y="5448"/>
                </a:lnTo>
                <a:lnTo>
                  <a:pt x="5502" y="5442"/>
                </a:lnTo>
                <a:lnTo>
                  <a:pt x="5496" y="5442"/>
                </a:lnTo>
                <a:lnTo>
                  <a:pt x="5484" y="5430"/>
                </a:lnTo>
                <a:lnTo>
                  <a:pt x="5490" y="5442"/>
                </a:lnTo>
                <a:lnTo>
                  <a:pt x="5496" y="5448"/>
                </a:lnTo>
                <a:lnTo>
                  <a:pt x="5496" y="5454"/>
                </a:lnTo>
                <a:lnTo>
                  <a:pt x="5502" y="5454"/>
                </a:lnTo>
                <a:lnTo>
                  <a:pt x="5508" y="5466"/>
                </a:lnTo>
                <a:lnTo>
                  <a:pt x="5526" y="5478"/>
                </a:lnTo>
                <a:lnTo>
                  <a:pt x="5532" y="5490"/>
                </a:lnTo>
                <a:lnTo>
                  <a:pt x="5532" y="5514"/>
                </a:lnTo>
                <a:lnTo>
                  <a:pt x="5532" y="5520"/>
                </a:lnTo>
                <a:lnTo>
                  <a:pt x="5538" y="5538"/>
                </a:lnTo>
                <a:lnTo>
                  <a:pt x="5538" y="5544"/>
                </a:lnTo>
                <a:lnTo>
                  <a:pt x="5538" y="5556"/>
                </a:lnTo>
                <a:lnTo>
                  <a:pt x="5526" y="5592"/>
                </a:lnTo>
                <a:lnTo>
                  <a:pt x="5520" y="5586"/>
                </a:lnTo>
                <a:lnTo>
                  <a:pt x="5514" y="5556"/>
                </a:lnTo>
                <a:lnTo>
                  <a:pt x="5508" y="5562"/>
                </a:lnTo>
                <a:lnTo>
                  <a:pt x="5514" y="5568"/>
                </a:lnTo>
                <a:lnTo>
                  <a:pt x="5508" y="5592"/>
                </a:lnTo>
                <a:lnTo>
                  <a:pt x="5508" y="5598"/>
                </a:lnTo>
                <a:lnTo>
                  <a:pt x="5514" y="5592"/>
                </a:lnTo>
                <a:lnTo>
                  <a:pt x="5520" y="5598"/>
                </a:lnTo>
                <a:lnTo>
                  <a:pt x="5508" y="5628"/>
                </a:lnTo>
                <a:lnTo>
                  <a:pt x="5502" y="5640"/>
                </a:lnTo>
                <a:lnTo>
                  <a:pt x="5484" y="5634"/>
                </a:lnTo>
                <a:lnTo>
                  <a:pt x="5484" y="5640"/>
                </a:lnTo>
                <a:lnTo>
                  <a:pt x="5490" y="5646"/>
                </a:lnTo>
                <a:lnTo>
                  <a:pt x="5496" y="5658"/>
                </a:lnTo>
                <a:lnTo>
                  <a:pt x="5484" y="5664"/>
                </a:lnTo>
                <a:lnTo>
                  <a:pt x="5484" y="5658"/>
                </a:lnTo>
                <a:lnTo>
                  <a:pt x="5472" y="5664"/>
                </a:lnTo>
                <a:lnTo>
                  <a:pt x="5466" y="5658"/>
                </a:lnTo>
                <a:lnTo>
                  <a:pt x="5460" y="5658"/>
                </a:lnTo>
                <a:lnTo>
                  <a:pt x="5460" y="5664"/>
                </a:lnTo>
                <a:lnTo>
                  <a:pt x="5430" y="5670"/>
                </a:lnTo>
                <a:lnTo>
                  <a:pt x="5424" y="5664"/>
                </a:lnTo>
                <a:lnTo>
                  <a:pt x="5424" y="5658"/>
                </a:lnTo>
                <a:lnTo>
                  <a:pt x="5406" y="5634"/>
                </a:lnTo>
                <a:lnTo>
                  <a:pt x="5400" y="5640"/>
                </a:lnTo>
                <a:lnTo>
                  <a:pt x="5400" y="5652"/>
                </a:lnTo>
                <a:lnTo>
                  <a:pt x="5406" y="5664"/>
                </a:lnTo>
                <a:lnTo>
                  <a:pt x="5436" y="5682"/>
                </a:lnTo>
                <a:lnTo>
                  <a:pt x="5442" y="5688"/>
                </a:lnTo>
                <a:lnTo>
                  <a:pt x="5436" y="5688"/>
                </a:lnTo>
                <a:lnTo>
                  <a:pt x="5424" y="5682"/>
                </a:lnTo>
                <a:lnTo>
                  <a:pt x="5418" y="5688"/>
                </a:lnTo>
                <a:lnTo>
                  <a:pt x="5406" y="5676"/>
                </a:lnTo>
                <a:lnTo>
                  <a:pt x="5412" y="5688"/>
                </a:lnTo>
                <a:lnTo>
                  <a:pt x="5406" y="5700"/>
                </a:lnTo>
                <a:lnTo>
                  <a:pt x="5424" y="5694"/>
                </a:lnTo>
                <a:lnTo>
                  <a:pt x="5436" y="5694"/>
                </a:lnTo>
                <a:lnTo>
                  <a:pt x="5436" y="5700"/>
                </a:lnTo>
                <a:lnTo>
                  <a:pt x="5454" y="5694"/>
                </a:lnTo>
                <a:lnTo>
                  <a:pt x="5466" y="5700"/>
                </a:lnTo>
                <a:lnTo>
                  <a:pt x="5472" y="5694"/>
                </a:lnTo>
                <a:lnTo>
                  <a:pt x="5484" y="5694"/>
                </a:lnTo>
                <a:lnTo>
                  <a:pt x="5478" y="5700"/>
                </a:lnTo>
                <a:lnTo>
                  <a:pt x="5490" y="5706"/>
                </a:lnTo>
                <a:lnTo>
                  <a:pt x="5490" y="5718"/>
                </a:lnTo>
                <a:lnTo>
                  <a:pt x="5574" y="5754"/>
                </a:lnTo>
                <a:lnTo>
                  <a:pt x="5580" y="5754"/>
                </a:lnTo>
                <a:lnTo>
                  <a:pt x="5586" y="5754"/>
                </a:lnTo>
                <a:lnTo>
                  <a:pt x="5598" y="5778"/>
                </a:lnTo>
                <a:lnTo>
                  <a:pt x="5574" y="5766"/>
                </a:lnTo>
                <a:lnTo>
                  <a:pt x="5514" y="5730"/>
                </a:lnTo>
                <a:lnTo>
                  <a:pt x="5454" y="5712"/>
                </a:lnTo>
                <a:lnTo>
                  <a:pt x="5442" y="5706"/>
                </a:lnTo>
                <a:lnTo>
                  <a:pt x="5400" y="5706"/>
                </a:lnTo>
                <a:lnTo>
                  <a:pt x="5388" y="5712"/>
                </a:lnTo>
                <a:lnTo>
                  <a:pt x="5316" y="5694"/>
                </a:lnTo>
                <a:lnTo>
                  <a:pt x="5304" y="5694"/>
                </a:lnTo>
                <a:lnTo>
                  <a:pt x="5280" y="5700"/>
                </a:lnTo>
                <a:lnTo>
                  <a:pt x="5244" y="5694"/>
                </a:lnTo>
                <a:lnTo>
                  <a:pt x="5226" y="5700"/>
                </a:lnTo>
                <a:lnTo>
                  <a:pt x="5226" y="5706"/>
                </a:lnTo>
                <a:lnTo>
                  <a:pt x="5214" y="5706"/>
                </a:lnTo>
                <a:lnTo>
                  <a:pt x="5238" y="5688"/>
                </a:lnTo>
                <a:lnTo>
                  <a:pt x="5268" y="5694"/>
                </a:lnTo>
                <a:lnTo>
                  <a:pt x="5304" y="5688"/>
                </a:lnTo>
                <a:lnTo>
                  <a:pt x="5316" y="5694"/>
                </a:lnTo>
                <a:lnTo>
                  <a:pt x="5346" y="5694"/>
                </a:lnTo>
                <a:lnTo>
                  <a:pt x="5376" y="5700"/>
                </a:lnTo>
                <a:lnTo>
                  <a:pt x="5388" y="5700"/>
                </a:lnTo>
                <a:lnTo>
                  <a:pt x="5406" y="5700"/>
                </a:lnTo>
                <a:lnTo>
                  <a:pt x="5400" y="5682"/>
                </a:lnTo>
                <a:lnTo>
                  <a:pt x="5388" y="5682"/>
                </a:lnTo>
                <a:lnTo>
                  <a:pt x="5394" y="5694"/>
                </a:lnTo>
                <a:lnTo>
                  <a:pt x="5388" y="5694"/>
                </a:lnTo>
                <a:lnTo>
                  <a:pt x="5370" y="5688"/>
                </a:lnTo>
                <a:lnTo>
                  <a:pt x="5364" y="5676"/>
                </a:lnTo>
                <a:lnTo>
                  <a:pt x="5358" y="5676"/>
                </a:lnTo>
                <a:lnTo>
                  <a:pt x="5346" y="5688"/>
                </a:lnTo>
                <a:lnTo>
                  <a:pt x="5334" y="5682"/>
                </a:lnTo>
                <a:lnTo>
                  <a:pt x="5322" y="5688"/>
                </a:lnTo>
                <a:lnTo>
                  <a:pt x="5310" y="5682"/>
                </a:lnTo>
                <a:lnTo>
                  <a:pt x="5292" y="5682"/>
                </a:lnTo>
                <a:lnTo>
                  <a:pt x="5280" y="5688"/>
                </a:lnTo>
                <a:lnTo>
                  <a:pt x="5256" y="5682"/>
                </a:lnTo>
                <a:lnTo>
                  <a:pt x="5244" y="5682"/>
                </a:lnTo>
                <a:lnTo>
                  <a:pt x="5244" y="5670"/>
                </a:lnTo>
                <a:lnTo>
                  <a:pt x="5256" y="5664"/>
                </a:lnTo>
                <a:lnTo>
                  <a:pt x="5250" y="5658"/>
                </a:lnTo>
                <a:lnTo>
                  <a:pt x="5244" y="5658"/>
                </a:lnTo>
                <a:lnTo>
                  <a:pt x="5238" y="5670"/>
                </a:lnTo>
                <a:lnTo>
                  <a:pt x="5232" y="5682"/>
                </a:lnTo>
                <a:lnTo>
                  <a:pt x="5214" y="5682"/>
                </a:lnTo>
                <a:lnTo>
                  <a:pt x="5202" y="5694"/>
                </a:lnTo>
                <a:lnTo>
                  <a:pt x="5190" y="5694"/>
                </a:lnTo>
                <a:lnTo>
                  <a:pt x="5178" y="5700"/>
                </a:lnTo>
                <a:lnTo>
                  <a:pt x="5160" y="5712"/>
                </a:lnTo>
                <a:lnTo>
                  <a:pt x="5142" y="5706"/>
                </a:lnTo>
                <a:lnTo>
                  <a:pt x="5130" y="5712"/>
                </a:lnTo>
                <a:lnTo>
                  <a:pt x="5130" y="5718"/>
                </a:lnTo>
                <a:lnTo>
                  <a:pt x="5166" y="5718"/>
                </a:lnTo>
                <a:lnTo>
                  <a:pt x="5184" y="5724"/>
                </a:lnTo>
                <a:lnTo>
                  <a:pt x="5202" y="5712"/>
                </a:lnTo>
                <a:lnTo>
                  <a:pt x="5208" y="5718"/>
                </a:lnTo>
                <a:lnTo>
                  <a:pt x="5196" y="5730"/>
                </a:lnTo>
                <a:lnTo>
                  <a:pt x="5190" y="5730"/>
                </a:lnTo>
                <a:lnTo>
                  <a:pt x="5172" y="5724"/>
                </a:lnTo>
                <a:lnTo>
                  <a:pt x="5130" y="5724"/>
                </a:lnTo>
                <a:lnTo>
                  <a:pt x="5106" y="5730"/>
                </a:lnTo>
                <a:lnTo>
                  <a:pt x="5100" y="5724"/>
                </a:lnTo>
                <a:lnTo>
                  <a:pt x="5070" y="5724"/>
                </a:lnTo>
                <a:lnTo>
                  <a:pt x="5064" y="5724"/>
                </a:lnTo>
                <a:lnTo>
                  <a:pt x="5064" y="5718"/>
                </a:lnTo>
                <a:lnTo>
                  <a:pt x="4986" y="5736"/>
                </a:lnTo>
                <a:lnTo>
                  <a:pt x="4986" y="5742"/>
                </a:lnTo>
                <a:lnTo>
                  <a:pt x="4974" y="5748"/>
                </a:lnTo>
                <a:lnTo>
                  <a:pt x="4962" y="5754"/>
                </a:lnTo>
                <a:lnTo>
                  <a:pt x="4908" y="5772"/>
                </a:lnTo>
                <a:lnTo>
                  <a:pt x="4890" y="5784"/>
                </a:lnTo>
                <a:lnTo>
                  <a:pt x="4872" y="5790"/>
                </a:lnTo>
                <a:lnTo>
                  <a:pt x="4830" y="5814"/>
                </a:lnTo>
                <a:lnTo>
                  <a:pt x="4800" y="5826"/>
                </a:lnTo>
                <a:lnTo>
                  <a:pt x="4800" y="5820"/>
                </a:lnTo>
                <a:lnTo>
                  <a:pt x="4794" y="5826"/>
                </a:lnTo>
                <a:lnTo>
                  <a:pt x="4788" y="5832"/>
                </a:lnTo>
                <a:lnTo>
                  <a:pt x="4740" y="5850"/>
                </a:lnTo>
                <a:lnTo>
                  <a:pt x="4704" y="5850"/>
                </a:lnTo>
                <a:lnTo>
                  <a:pt x="4704" y="5856"/>
                </a:lnTo>
                <a:lnTo>
                  <a:pt x="4692" y="5862"/>
                </a:lnTo>
                <a:lnTo>
                  <a:pt x="4692" y="5868"/>
                </a:lnTo>
                <a:lnTo>
                  <a:pt x="4656" y="5868"/>
                </a:lnTo>
                <a:lnTo>
                  <a:pt x="4650" y="5862"/>
                </a:lnTo>
                <a:lnTo>
                  <a:pt x="4668" y="5856"/>
                </a:lnTo>
                <a:lnTo>
                  <a:pt x="4638" y="5844"/>
                </a:lnTo>
                <a:lnTo>
                  <a:pt x="4632" y="5844"/>
                </a:lnTo>
                <a:lnTo>
                  <a:pt x="4632" y="5862"/>
                </a:lnTo>
                <a:lnTo>
                  <a:pt x="4626" y="5868"/>
                </a:lnTo>
                <a:lnTo>
                  <a:pt x="4632" y="5868"/>
                </a:lnTo>
                <a:lnTo>
                  <a:pt x="4620" y="5874"/>
                </a:lnTo>
                <a:lnTo>
                  <a:pt x="4614" y="5880"/>
                </a:lnTo>
                <a:lnTo>
                  <a:pt x="4614" y="5886"/>
                </a:lnTo>
                <a:lnTo>
                  <a:pt x="4644" y="5868"/>
                </a:lnTo>
                <a:lnTo>
                  <a:pt x="4644" y="5874"/>
                </a:lnTo>
                <a:lnTo>
                  <a:pt x="4638" y="5886"/>
                </a:lnTo>
                <a:lnTo>
                  <a:pt x="4620" y="5898"/>
                </a:lnTo>
                <a:lnTo>
                  <a:pt x="4596" y="5904"/>
                </a:lnTo>
                <a:lnTo>
                  <a:pt x="4596" y="5898"/>
                </a:lnTo>
                <a:lnTo>
                  <a:pt x="4590" y="5904"/>
                </a:lnTo>
                <a:lnTo>
                  <a:pt x="4590" y="5916"/>
                </a:lnTo>
                <a:lnTo>
                  <a:pt x="4566" y="5922"/>
                </a:lnTo>
                <a:lnTo>
                  <a:pt x="4542" y="5934"/>
                </a:lnTo>
                <a:lnTo>
                  <a:pt x="4536" y="5940"/>
                </a:lnTo>
                <a:lnTo>
                  <a:pt x="4500" y="5964"/>
                </a:lnTo>
                <a:lnTo>
                  <a:pt x="4482" y="5976"/>
                </a:lnTo>
                <a:lnTo>
                  <a:pt x="4464" y="5976"/>
                </a:lnTo>
                <a:lnTo>
                  <a:pt x="4410" y="6006"/>
                </a:lnTo>
                <a:lnTo>
                  <a:pt x="4374" y="6036"/>
                </a:lnTo>
                <a:lnTo>
                  <a:pt x="4362" y="6036"/>
                </a:lnTo>
                <a:lnTo>
                  <a:pt x="4356" y="6036"/>
                </a:lnTo>
                <a:lnTo>
                  <a:pt x="4356" y="6030"/>
                </a:lnTo>
                <a:lnTo>
                  <a:pt x="4368" y="6018"/>
                </a:lnTo>
                <a:lnTo>
                  <a:pt x="4374" y="6018"/>
                </a:lnTo>
                <a:lnTo>
                  <a:pt x="4386" y="6012"/>
                </a:lnTo>
                <a:lnTo>
                  <a:pt x="4392" y="6012"/>
                </a:lnTo>
                <a:lnTo>
                  <a:pt x="4398" y="6006"/>
                </a:lnTo>
                <a:lnTo>
                  <a:pt x="4452" y="5976"/>
                </a:lnTo>
                <a:lnTo>
                  <a:pt x="4476" y="5970"/>
                </a:lnTo>
                <a:lnTo>
                  <a:pt x="4518" y="5952"/>
                </a:lnTo>
                <a:lnTo>
                  <a:pt x="4530" y="5940"/>
                </a:lnTo>
                <a:lnTo>
                  <a:pt x="4524" y="5934"/>
                </a:lnTo>
                <a:lnTo>
                  <a:pt x="4500" y="5940"/>
                </a:lnTo>
                <a:lnTo>
                  <a:pt x="4494" y="5946"/>
                </a:lnTo>
                <a:lnTo>
                  <a:pt x="4482" y="5958"/>
                </a:lnTo>
                <a:lnTo>
                  <a:pt x="4458" y="5964"/>
                </a:lnTo>
                <a:lnTo>
                  <a:pt x="4452" y="5970"/>
                </a:lnTo>
                <a:lnTo>
                  <a:pt x="4434" y="5976"/>
                </a:lnTo>
                <a:lnTo>
                  <a:pt x="4416" y="5982"/>
                </a:lnTo>
                <a:lnTo>
                  <a:pt x="4386" y="5988"/>
                </a:lnTo>
                <a:lnTo>
                  <a:pt x="4362" y="5994"/>
                </a:lnTo>
                <a:lnTo>
                  <a:pt x="4344" y="5988"/>
                </a:lnTo>
                <a:lnTo>
                  <a:pt x="4338" y="5988"/>
                </a:lnTo>
                <a:lnTo>
                  <a:pt x="4332" y="5982"/>
                </a:lnTo>
                <a:lnTo>
                  <a:pt x="4314" y="5970"/>
                </a:lnTo>
                <a:lnTo>
                  <a:pt x="4314" y="5976"/>
                </a:lnTo>
                <a:lnTo>
                  <a:pt x="4320" y="5988"/>
                </a:lnTo>
                <a:lnTo>
                  <a:pt x="4332" y="5988"/>
                </a:lnTo>
                <a:lnTo>
                  <a:pt x="4326" y="5994"/>
                </a:lnTo>
                <a:lnTo>
                  <a:pt x="4296" y="5982"/>
                </a:lnTo>
                <a:lnTo>
                  <a:pt x="4278" y="5988"/>
                </a:lnTo>
                <a:lnTo>
                  <a:pt x="4278" y="5982"/>
                </a:lnTo>
                <a:lnTo>
                  <a:pt x="4272" y="5988"/>
                </a:lnTo>
                <a:lnTo>
                  <a:pt x="4260" y="5988"/>
                </a:lnTo>
                <a:lnTo>
                  <a:pt x="4242" y="6024"/>
                </a:lnTo>
                <a:lnTo>
                  <a:pt x="4236" y="6036"/>
                </a:lnTo>
                <a:lnTo>
                  <a:pt x="4230" y="6036"/>
                </a:lnTo>
                <a:lnTo>
                  <a:pt x="4230" y="6024"/>
                </a:lnTo>
                <a:lnTo>
                  <a:pt x="4242" y="5994"/>
                </a:lnTo>
                <a:lnTo>
                  <a:pt x="4236" y="5982"/>
                </a:lnTo>
                <a:lnTo>
                  <a:pt x="4224" y="6000"/>
                </a:lnTo>
                <a:lnTo>
                  <a:pt x="4218" y="6024"/>
                </a:lnTo>
                <a:lnTo>
                  <a:pt x="4212" y="6036"/>
                </a:lnTo>
                <a:lnTo>
                  <a:pt x="4194" y="6054"/>
                </a:lnTo>
                <a:lnTo>
                  <a:pt x="4200" y="6024"/>
                </a:lnTo>
                <a:lnTo>
                  <a:pt x="4212" y="6000"/>
                </a:lnTo>
                <a:lnTo>
                  <a:pt x="4200" y="6006"/>
                </a:lnTo>
                <a:lnTo>
                  <a:pt x="4194" y="6000"/>
                </a:lnTo>
                <a:lnTo>
                  <a:pt x="4194" y="5994"/>
                </a:lnTo>
                <a:lnTo>
                  <a:pt x="4194" y="5976"/>
                </a:lnTo>
                <a:lnTo>
                  <a:pt x="4194" y="5958"/>
                </a:lnTo>
                <a:lnTo>
                  <a:pt x="4194" y="5952"/>
                </a:lnTo>
                <a:lnTo>
                  <a:pt x="4200" y="5910"/>
                </a:lnTo>
                <a:lnTo>
                  <a:pt x="4188" y="5892"/>
                </a:lnTo>
                <a:lnTo>
                  <a:pt x="4182" y="5898"/>
                </a:lnTo>
                <a:lnTo>
                  <a:pt x="4176" y="5910"/>
                </a:lnTo>
                <a:lnTo>
                  <a:pt x="4170" y="5916"/>
                </a:lnTo>
                <a:lnTo>
                  <a:pt x="4170" y="5910"/>
                </a:lnTo>
                <a:lnTo>
                  <a:pt x="4176" y="5892"/>
                </a:lnTo>
                <a:lnTo>
                  <a:pt x="4170" y="5886"/>
                </a:lnTo>
                <a:lnTo>
                  <a:pt x="4170" y="5862"/>
                </a:lnTo>
                <a:lnTo>
                  <a:pt x="4164" y="5874"/>
                </a:lnTo>
                <a:lnTo>
                  <a:pt x="4152" y="5898"/>
                </a:lnTo>
                <a:lnTo>
                  <a:pt x="4146" y="5898"/>
                </a:lnTo>
                <a:lnTo>
                  <a:pt x="4146" y="5892"/>
                </a:lnTo>
                <a:lnTo>
                  <a:pt x="4146" y="5874"/>
                </a:lnTo>
                <a:lnTo>
                  <a:pt x="4158" y="5856"/>
                </a:lnTo>
                <a:lnTo>
                  <a:pt x="4152" y="5850"/>
                </a:lnTo>
                <a:lnTo>
                  <a:pt x="4158" y="5832"/>
                </a:lnTo>
                <a:lnTo>
                  <a:pt x="4152" y="5826"/>
                </a:lnTo>
                <a:lnTo>
                  <a:pt x="4146" y="5844"/>
                </a:lnTo>
                <a:lnTo>
                  <a:pt x="4134" y="5856"/>
                </a:lnTo>
                <a:lnTo>
                  <a:pt x="4128" y="5862"/>
                </a:lnTo>
                <a:lnTo>
                  <a:pt x="4122" y="5856"/>
                </a:lnTo>
                <a:lnTo>
                  <a:pt x="4134" y="5820"/>
                </a:lnTo>
                <a:lnTo>
                  <a:pt x="4152" y="5772"/>
                </a:lnTo>
                <a:lnTo>
                  <a:pt x="4146" y="5766"/>
                </a:lnTo>
                <a:lnTo>
                  <a:pt x="4134" y="5796"/>
                </a:lnTo>
                <a:lnTo>
                  <a:pt x="4128" y="5802"/>
                </a:lnTo>
                <a:lnTo>
                  <a:pt x="4122" y="5814"/>
                </a:lnTo>
                <a:lnTo>
                  <a:pt x="4116" y="5826"/>
                </a:lnTo>
                <a:lnTo>
                  <a:pt x="4110" y="5856"/>
                </a:lnTo>
                <a:lnTo>
                  <a:pt x="4110" y="5862"/>
                </a:lnTo>
                <a:lnTo>
                  <a:pt x="4104" y="5862"/>
                </a:lnTo>
                <a:lnTo>
                  <a:pt x="4104" y="5868"/>
                </a:lnTo>
                <a:lnTo>
                  <a:pt x="4086" y="5874"/>
                </a:lnTo>
                <a:lnTo>
                  <a:pt x="4092" y="5850"/>
                </a:lnTo>
                <a:lnTo>
                  <a:pt x="4086" y="5850"/>
                </a:lnTo>
                <a:lnTo>
                  <a:pt x="4086" y="5856"/>
                </a:lnTo>
                <a:lnTo>
                  <a:pt x="4074" y="5880"/>
                </a:lnTo>
                <a:lnTo>
                  <a:pt x="4062" y="5880"/>
                </a:lnTo>
                <a:lnTo>
                  <a:pt x="4122" y="5790"/>
                </a:lnTo>
                <a:lnTo>
                  <a:pt x="4116" y="5784"/>
                </a:lnTo>
                <a:lnTo>
                  <a:pt x="4086" y="5820"/>
                </a:lnTo>
                <a:lnTo>
                  <a:pt x="4080" y="5838"/>
                </a:lnTo>
                <a:lnTo>
                  <a:pt x="4056" y="5886"/>
                </a:lnTo>
                <a:lnTo>
                  <a:pt x="4032" y="5892"/>
                </a:lnTo>
                <a:lnTo>
                  <a:pt x="4032" y="5886"/>
                </a:lnTo>
                <a:lnTo>
                  <a:pt x="4068" y="5844"/>
                </a:lnTo>
                <a:lnTo>
                  <a:pt x="4074" y="5808"/>
                </a:lnTo>
                <a:lnTo>
                  <a:pt x="4068" y="5814"/>
                </a:lnTo>
                <a:lnTo>
                  <a:pt x="4044" y="5856"/>
                </a:lnTo>
                <a:lnTo>
                  <a:pt x="4032" y="5862"/>
                </a:lnTo>
                <a:lnTo>
                  <a:pt x="4026" y="5862"/>
                </a:lnTo>
                <a:lnTo>
                  <a:pt x="4020" y="5856"/>
                </a:lnTo>
                <a:lnTo>
                  <a:pt x="4002" y="5868"/>
                </a:lnTo>
                <a:lnTo>
                  <a:pt x="3996" y="5868"/>
                </a:lnTo>
                <a:lnTo>
                  <a:pt x="3972" y="5898"/>
                </a:lnTo>
                <a:lnTo>
                  <a:pt x="3966" y="5898"/>
                </a:lnTo>
                <a:lnTo>
                  <a:pt x="3990" y="5868"/>
                </a:lnTo>
                <a:lnTo>
                  <a:pt x="4002" y="5844"/>
                </a:lnTo>
                <a:lnTo>
                  <a:pt x="4002" y="5838"/>
                </a:lnTo>
                <a:lnTo>
                  <a:pt x="4008" y="5832"/>
                </a:lnTo>
                <a:lnTo>
                  <a:pt x="4020" y="5826"/>
                </a:lnTo>
                <a:lnTo>
                  <a:pt x="4020" y="5814"/>
                </a:lnTo>
                <a:lnTo>
                  <a:pt x="4026" y="5808"/>
                </a:lnTo>
                <a:lnTo>
                  <a:pt x="4020" y="5802"/>
                </a:lnTo>
                <a:lnTo>
                  <a:pt x="4002" y="5814"/>
                </a:lnTo>
                <a:lnTo>
                  <a:pt x="3990" y="5820"/>
                </a:lnTo>
                <a:lnTo>
                  <a:pt x="3978" y="5820"/>
                </a:lnTo>
                <a:lnTo>
                  <a:pt x="3972" y="5826"/>
                </a:lnTo>
                <a:lnTo>
                  <a:pt x="3972" y="5814"/>
                </a:lnTo>
                <a:lnTo>
                  <a:pt x="3990" y="5790"/>
                </a:lnTo>
                <a:lnTo>
                  <a:pt x="3984" y="5784"/>
                </a:lnTo>
                <a:lnTo>
                  <a:pt x="3978" y="5784"/>
                </a:lnTo>
                <a:lnTo>
                  <a:pt x="3966" y="5802"/>
                </a:lnTo>
                <a:lnTo>
                  <a:pt x="3960" y="5814"/>
                </a:lnTo>
                <a:lnTo>
                  <a:pt x="3960" y="5832"/>
                </a:lnTo>
                <a:lnTo>
                  <a:pt x="3954" y="5862"/>
                </a:lnTo>
                <a:lnTo>
                  <a:pt x="3948" y="5874"/>
                </a:lnTo>
                <a:lnTo>
                  <a:pt x="3936" y="5874"/>
                </a:lnTo>
                <a:lnTo>
                  <a:pt x="3930" y="5880"/>
                </a:lnTo>
                <a:lnTo>
                  <a:pt x="3900" y="5910"/>
                </a:lnTo>
                <a:lnTo>
                  <a:pt x="3894" y="5922"/>
                </a:lnTo>
                <a:lnTo>
                  <a:pt x="3900" y="5922"/>
                </a:lnTo>
                <a:lnTo>
                  <a:pt x="3930" y="5910"/>
                </a:lnTo>
                <a:lnTo>
                  <a:pt x="3930" y="5904"/>
                </a:lnTo>
                <a:lnTo>
                  <a:pt x="3954" y="5892"/>
                </a:lnTo>
                <a:lnTo>
                  <a:pt x="3954" y="5898"/>
                </a:lnTo>
                <a:lnTo>
                  <a:pt x="3942" y="5904"/>
                </a:lnTo>
                <a:lnTo>
                  <a:pt x="3906" y="5928"/>
                </a:lnTo>
                <a:lnTo>
                  <a:pt x="3912" y="5934"/>
                </a:lnTo>
                <a:lnTo>
                  <a:pt x="3918" y="5934"/>
                </a:lnTo>
                <a:lnTo>
                  <a:pt x="3924" y="5934"/>
                </a:lnTo>
                <a:lnTo>
                  <a:pt x="3912" y="5940"/>
                </a:lnTo>
                <a:lnTo>
                  <a:pt x="3912" y="5946"/>
                </a:lnTo>
                <a:lnTo>
                  <a:pt x="3906" y="5958"/>
                </a:lnTo>
                <a:lnTo>
                  <a:pt x="3912" y="5964"/>
                </a:lnTo>
                <a:lnTo>
                  <a:pt x="3918" y="5952"/>
                </a:lnTo>
                <a:lnTo>
                  <a:pt x="3936" y="5940"/>
                </a:lnTo>
                <a:lnTo>
                  <a:pt x="3936" y="5958"/>
                </a:lnTo>
                <a:lnTo>
                  <a:pt x="3936" y="5970"/>
                </a:lnTo>
                <a:lnTo>
                  <a:pt x="3948" y="5976"/>
                </a:lnTo>
                <a:lnTo>
                  <a:pt x="3978" y="5964"/>
                </a:lnTo>
                <a:lnTo>
                  <a:pt x="3984" y="5964"/>
                </a:lnTo>
                <a:lnTo>
                  <a:pt x="3984" y="5976"/>
                </a:lnTo>
                <a:lnTo>
                  <a:pt x="3972" y="5988"/>
                </a:lnTo>
                <a:lnTo>
                  <a:pt x="4008" y="6000"/>
                </a:lnTo>
                <a:lnTo>
                  <a:pt x="4008" y="6006"/>
                </a:lnTo>
                <a:lnTo>
                  <a:pt x="3960" y="5982"/>
                </a:lnTo>
                <a:lnTo>
                  <a:pt x="3924" y="5970"/>
                </a:lnTo>
                <a:lnTo>
                  <a:pt x="3918" y="5970"/>
                </a:lnTo>
                <a:lnTo>
                  <a:pt x="3888" y="5952"/>
                </a:lnTo>
                <a:lnTo>
                  <a:pt x="3858" y="5940"/>
                </a:lnTo>
                <a:lnTo>
                  <a:pt x="3834" y="5940"/>
                </a:lnTo>
                <a:lnTo>
                  <a:pt x="3828" y="5940"/>
                </a:lnTo>
                <a:lnTo>
                  <a:pt x="3828" y="5928"/>
                </a:lnTo>
                <a:lnTo>
                  <a:pt x="3834" y="5922"/>
                </a:lnTo>
                <a:lnTo>
                  <a:pt x="3834" y="5916"/>
                </a:lnTo>
                <a:lnTo>
                  <a:pt x="3828" y="5916"/>
                </a:lnTo>
                <a:lnTo>
                  <a:pt x="3810" y="5934"/>
                </a:lnTo>
                <a:lnTo>
                  <a:pt x="3804" y="5934"/>
                </a:lnTo>
                <a:lnTo>
                  <a:pt x="3768" y="5928"/>
                </a:lnTo>
                <a:lnTo>
                  <a:pt x="3774" y="5922"/>
                </a:lnTo>
                <a:lnTo>
                  <a:pt x="3786" y="5904"/>
                </a:lnTo>
                <a:lnTo>
                  <a:pt x="3786" y="5886"/>
                </a:lnTo>
                <a:lnTo>
                  <a:pt x="3786" y="5856"/>
                </a:lnTo>
                <a:lnTo>
                  <a:pt x="3780" y="5862"/>
                </a:lnTo>
                <a:lnTo>
                  <a:pt x="3786" y="5880"/>
                </a:lnTo>
                <a:lnTo>
                  <a:pt x="3774" y="5904"/>
                </a:lnTo>
                <a:lnTo>
                  <a:pt x="3768" y="5916"/>
                </a:lnTo>
                <a:lnTo>
                  <a:pt x="3750" y="5928"/>
                </a:lnTo>
                <a:lnTo>
                  <a:pt x="3738" y="5922"/>
                </a:lnTo>
                <a:lnTo>
                  <a:pt x="3714" y="5922"/>
                </a:lnTo>
                <a:lnTo>
                  <a:pt x="3708" y="5922"/>
                </a:lnTo>
                <a:lnTo>
                  <a:pt x="3690" y="5922"/>
                </a:lnTo>
                <a:lnTo>
                  <a:pt x="3690" y="5910"/>
                </a:lnTo>
                <a:lnTo>
                  <a:pt x="3684" y="5916"/>
                </a:lnTo>
                <a:lnTo>
                  <a:pt x="3684" y="5922"/>
                </a:lnTo>
                <a:lnTo>
                  <a:pt x="3642" y="5916"/>
                </a:lnTo>
                <a:lnTo>
                  <a:pt x="3606" y="5922"/>
                </a:lnTo>
                <a:lnTo>
                  <a:pt x="3600" y="5922"/>
                </a:lnTo>
                <a:lnTo>
                  <a:pt x="3600" y="5916"/>
                </a:lnTo>
                <a:lnTo>
                  <a:pt x="3618" y="5898"/>
                </a:lnTo>
                <a:lnTo>
                  <a:pt x="3606" y="5904"/>
                </a:lnTo>
                <a:lnTo>
                  <a:pt x="3594" y="5904"/>
                </a:lnTo>
                <a:lnTo>
                  <a:pt x="3588" y="5922"/>
                </a:lnTo>
                <a:lnTo>
                  <a:pt x="3570" y="5922"/>
                </a:lnTo>
                <a:lnTo>
                  <a:pt x="3528" y="5928"/>
                </a:lnTo>
                <a:lnTo>
                  <a:pt x="3480" y="5940"/>
                </a:lnTo>
                <a:lnTo>
                  <a:pt x="3480" y="5934"/>
                </a:lnTo>
                <a:lnTo>
                  <a:pt x="3486" y="5910"/>
                </a:lnTo>
                <a:lnTo>
                  <a:pt x="3480" y="5898"/>
                </a:lnTo>
                <a:lnTo>
                  <a:pt x="3468" y="5892"/>
                </a:lnTo>
                <a:lnTo>
                  <a:pt x="3456" y="5844"/>
                </a:lnTo>
                <a:lnTo>
                  <a:pt x="3444" y="5826"/>
                </a:lnTo>
                <a:lnTo>
                  <a:pt x="3432" y="5784"/>
                </a:lnTo>
                <a:lnTo>
                  <a:pt x="3408" y="5754"/>
                </a:lnTo>
                <a:lnTo>
                  <a:pt x="3402" y="5736"/>
                </a:lnTo>
                <a:lnTo>
                  <a:pt x="3390" y="5694"/>
                </a:lnTo>
                <a:lnTo>
                  <a:pt x="3378" y="5682"/>
                </a:lnTo>
                <a:lnTo>
                  <a:pt x="3360" y="5682"/>
                </a:lnTo>
                <a:lnTo>
                  <a:pt x="3354" y="5682"/>
                </a:lnTo>
                <a:lnTo>
                  <a:pt x="3360" y="5682"/>
                </a:lnTo>
                <a:lnTo>
                  <a:pt x="3378" y="5688"/>
                </a:lnTo>
                <a:lnTo>
                  <a:pt x="3390" y="5712"/>
                </a:lnTo>
                <a:lnTo>
                  <a:pt x="3396" y="5742"/>
                </a:lnTo>
                <a:lnTo>
                  <a:pt x="3396" y="5748"/>
                </a:lnTo>
                <a:lnTo>
                  <a:pt x="3402" y="5760"/>
                </a:lnTo>
                <a:lnTo>
                  <a:pt x="3408" y="5772"/>
                </a:lnTo>
                <a:lnTo>
                  <a:pt x="3414" y="5778"/>
                </a:lnTo>
                <a:lnTo>
                  <a:pt x="3426" y="5802"/>
                </a:lnTo>
                <a:lnTo>
                  <a:pt x="3450" y="5868"/>
                </a:lnTo>
                <a:lnTo>
                  <a:pt x="3462" y="5892"/>
                </a:lnTo>
                <a:lnTo>
                  <a:pt x="3474" y="5910"/>
                </a:lnTo>
                <a:lnTo>
                  <a:pt x="3474" y="5916"/>
                </a:lnTo>
                <a:lnTo>
                  <a:pt x="3462" y="5940"/>
                </a:lnTo>
                <a:lnTo>
                  <a:pt x="3462" y="5946"/>
                </a:lnTo>
                <a:lnTo>
                  <a:pt x="3456" y="5952"/>
                </a:lnTo>
                <a:lnTo>
                  <a:pt x="3444" y="5964"/>
                </a:lnTo>
                <a:lnTo>
                  <a:pt x="3426" y="5964"/>
                </a:lnTo>
                <a:lnTo>
                  <a:pt x="3426" y="5970"/>
                </a:lnTo>
                <a:lnTo>
                  <a:pt x="3396" y="5994"/>
                </a:lnTo>
                <a:lnTo>
                  <a:pt x="3372" y="6012"/>
                </a:lnTo>
                <a:lnTo>
                  <a:pt x="3330" y="6030"/>
                </a:lnTo>
                <a:lnTo>
                  <a:pt x="3318" y="6030"/>
                </a:lnTo>
                <a:lnTo>
                  <a:pt x="3300" y="6024"/>
                </a:lnTo>
                <a:lnTo>
                  <a:pt x="3282" y="6012"/>
                </a:lnTo>
                <a:lnTo>
                  <a:pt x="3270" y="5994"/>
                </a:lnTo>
                <a:lnTo>
                  <a:pt x="3270" y="6000"/>
                </a:lnTo>
                <a:lnTo>
                  <a:pt x="3282" y="6018"/>
                </a:lnTo>
                <a:lnTo>
                  <a:pt x="3306" y="6048"/>
                </a:lnTo>
                <a:lnTo>
                  <a:pt x="3336" y="6042"/>
                </a:lnTo>
                <a:lnTo>
                  <a:pt x="3360" y="6024"/>
                </a:lnTo>
                <a:lnTo>
                  <a:pt x="3366" y="6030"/>
                </a:lnTo>
                <a:lnTo>
                  <a:pt x="3342" y="6042"/>
                </a:lnTo>
                <a:lnTo>
                  <a:pt x="3318" y="6060"/>
                </a:lnTo>
                <a:lnTo>
                  <a:pt x="3270" y="6120"/>
                </a:lnTo>
                <a:lnTo>
                  <a:pt x="3234" y="6144"/>
                </a:lnTo>
                <a:lnTo>
                  <a:pt x="3198" y="6156"/>
                </a:lnTo>
                <a:lnTo>
                  <a:pt x="3186" y="6162"/>
                </a:lnTo>
                <a:lnTo>
                  <a:pt x="3174" y="6162"/>
                </a:lnTo>
                <a:lnTo>
                  <a:pt x="3162" y="6168"/>
                </a:lnTo>
                <a:lnTo>
                  <a:pt x="3132" y="6174"/>
                </a:lnTo>
                <a:lnTo>
                  <a:pt x="3060" y="6180"/>
                </a:lnTo>
                <a:lnTo>
                  <a:pt x="3042" y="6186"/>
                </a:lnTo>
                <a:lnTo>
                  <a:pt x="3036" y="6180"/>
                </a:lnTo>
                <a:lnTo>
                  <a:pt x="3000" y="6192"/>
                </a:lnTo>
                <a:lnTo>
                  <a:pt x="2976" y="6174"/>
                </a:lnTo>
                <a:lnTo>
                  <a:pt x="2976" y="6156"/>
                </a:lnTo>
                <a:lnTo>
                  <a:pt x="2976" y="6144"/>
                </a:lnTo>
                <a:lnTo>
                  <a:pt x="2976" y="6132"/>
                </a:lnTo>
                <a:lnTo>
                  <a:pt x="2982" y="6126"/>
                </a:lnTo>
                <a:lnTo>
                  <a:pt x="2994" y="6120"/>
                </a:lnTo>
                <a:lnTo>
                  <a:pt x="3012" y="6096"/>
                </a:lnTo>
                <a:lnTo>
                  <a:pt x="3018" y="6060"/>
                </a:lnTo>
                <a:lnTo>
                  <a:pt x="3024" y="6030"/>
                </a:lnTo>
                <a:lnTo>
                  <a:pt x="3006" y="5964"/>
                </a:lnTo>
                <a:lnTo>
                  <a:pt x="2988" y="5946"/>
                </a:lnTo>
                <a:lnTo>
                  <a:pt x="2982" y="5922"/>
                </a:lnTo>
                <a:lnTo>
                  <a:pt x="2970" y="5916"/>
                </a:lnTo>
                <a:lnTo>
                  <a:pt x="2958" y="5916"/>
                </a:lnTo>
                <a:lnTo>
                  <a:pt x="2970" y="5940"/>
                </a:lnTo>
                <a:lnTo>
                  <a:pt x="2970" y="5946"/>
                </a:lnTo>
                <a:lnTo>
                  <a:pt x="2988" y="5964"/>
                </a:lnTo>
                <a:lnTo>
                  <a:pt x="3006" y="6024"/>
                </a:lnTo>
                <a:lnTo>
                  <a:pt x="3006" y="6042"/>
                </a:lnTo>
                <a:lnTo>
                  <a:pt x="3000" y="6060"/>
                </a:lnTo>
                <a:lnTo>
                  <a:pt x="3006" y="6084"/>
                </a:lnTo>
                <a:lnTo>
                  <a:pt x="2976" y="6126"/>
                </a:lnTo>
                <a:lnTo>
                  <a:pt x="2976" y="6120"/>
                </a:lnTo>
                <a:lnTo>
                  <a:pt x="2976" y="6108"/>
                </a:lnTo>
                <a:lnTo>
                  <a:pt x="2982" y="6102"/>
                </a:lnTo>
                <a:lnTo>
                  <a:pt x="2988" y="6090"/>
                </a:lnTo>
                <a:lnTo>
                  <a:pt x="2994" y="6048"/>
                </a:lnTo>
                <a:lnTo>
                  <a:pt x="2994" y="6030"/>
                </a:lnTo>
                <a:lnTo>
                  <a:pt x="2988" y="6024"/>
                </a:lnTo>
                <a:lnTo>
                  <a:pt x="2982" y="6030"/>
                </a:lnTo>
                <a:lnTo>
                  <a:pt x="2988" y="6036"/>
                </a:lnTo>
                <a:lnTo>
                  <a:pt x="2988" y="6060"/>
                </a:lnTo>
                <a:lnTo>
                  <a:pt x="2982" y="6078"/>
                </a:lnTo>
                <a:lnTo>
                  <a:pt x="2976" y="6066"/>
                </a:lnTo>
                <a:lnTo>
                  <a:pt x="2970" y="6054"/>
                </a:lnTo>
                <a:lnTo>
                  <a:pt x="2982" y="6030"/>
                </a:lnTo>
                <a:lnTo>
                  <a:pt x="2976" y="6012"/>
                </a:lnTo>
                <a:lnTo>
                  <a:pt x="2982" y="5988"/>
                </a:lnTo>
                <a:lnTo>
                  <a:pt x="2982" y="5982"/>
                </a:lnTo>
                <a:lnTo>
                  <a:pt x="2970" y="5994"/>
                </a:lnTo>
                <a:lnTo>
                  <a:pt x="2970" y="6006"/>
                </a:lnTo>
                <a:lnTo>
                  <a:pt x="2970" y="6024"/>
                </a:lnTo>
                <a:lnTo>
                  <a:pt x="2964" y="6030"/>
                </a:lnTo>
                <a:lnTo>
                  <a:pt x="2952" y="6018"/>
                </a:lnTo>
                <a:lnTo>
                  <a:pt x="2946" y="6012"/>
                </a:lnTo>
                <a:lnTo>
                  <a:pt x="2928" y="6018"/>
                </a:lnTo>
                <a:lnTo>
                  <a:pt x="2916" y="5988"/>
                </a:lnTo>
                <a:lnTo>
                  <a:pt x="2898" y="5982"/>
                </a:lnTo>
                <a:lnTo>
                  <a:pt x="2886" y="5982"/>
                </a:lnTo>
                <a:lnTo>
                  <a:pt x="2886" y="5988"/>
                </a:lnTo>
                <a:lnTo>
                  <a:pt x="2904" y="5988"/>
                </a:lnTo>
                <a:lnTo>
                  <a:pt x="2910" y="5994"/>
                </a:lnTo>
                <a:lnTo>
                  <a:pt x="2916" y="6024"/>
                </a:lnTo>
                <a:lnTo>
                  <a:pt x="2952" y="6036"/>
                </a:lnTo>
                <a:lnTo>
                  <a:pt x="2958" y="6048"/>
                </a:lnTo>
                <a:lnTo>
                  <a:pt x="2952" y="6066"/>
                </a:lnTo>
                <a:lnTo>
                  <a:pt x="2958" y="6072"/>
                </a:lnTo>
                <a:lnTo>
                  <a:pt x="2958" y="6084"/>
                </a:lnTo>
                <a:lnTo>
                  <a:pt x="2952" y="6102"/>
                </a:lnTo>
                <a:lnTo>
                  <a:pt x="2946" y="6090"/>
                </a:lnTo>
                <a:lnTo>
                  <a:pt x="2928" y="6090"/>
                </a:lnTo>
                <a:lnTo>
                  <a:pt x="2922" y="6072"/>
                </a:lnTo>
                <a:lnTo>
                  <a:pt x="2916" y="6060"/>
                </a:lnTo>
                <a:lnTo>
                  <a:pt x="2910" y="6054"/>
                </a:lnTo>
                <a:lnTo>
                  <a:pt x="2886" y="6048"/>
                </a:lnTo>
                <a:lnTo>
                  <a:pt x="2874" y="6054"/>
                </a:lnTo>
                <a:lnTo>
                  <a:pt x="2880" y="6060"/>
                </a:lnTo>
                <a:lnTo>
                  <a:pt x="2910" y="6066"/>
                </a:lnTo>
                <a:lnTo>
                  <a:pt x="2910" y="6072"/>
                </a:lnTo>
                <a:lnTo>
                  <a:pt x="2916" y="6078"/>
                </a:lnTo>
                <a:lnTo>
                  <a:pt x="2922" y="6090"/>
                </a:lnTo>
                <a:lnTo>
                  <a:pt x="2928" y="6114"/>
                </a:lnTo>
                <a:lnTo>
                  <a:pt x="2934" y="6120"/>
                </a:lnTo>
                <a:lnTo>
                  <a:pt x="2934" y="6132"/>
                </a:lnTo>
                <a:lnTo>
                  <a:pt x="2940" y="6156"/>
                </a:lnTo>
                <a:lnTo>
                  <a:pt x="2946" y="6156"/>
                </a:lnTo>
                <a:lnTo>
                  <a:pt x="2952" y="6126"/>
                </a:lnTo>
                <a:lnTo>
                  <a:pt x="2958" y="6138"/>
                </a:lnTo>
                <a:lnTo>
                  <a:pt x="2958" y="6174"/>
                </a:lnTo>
                <a:lnTo>
                  <a:pt x="2964" y="6180"/>
                </a:lnTo>
                <a:lnTo>
                  <a:pt x="2988" y="6192"/>
                </a:lnTo>
                <a:lnTo>
                  <a:pt x="2982" y="6192"/>
                </a:lnTo>
                <a:lnTo>
                  <a:pt x="2964" y="6192"/>
                </a:lnTo>
                <a:lnTo>
                  <a:pt x="2928" y="6180"/>
                </a:lnTo>
                <a:lnTo>
                  <a:pt x="2862" y="6174"/>
                </a:lnTo>
                <a:lnTo>
                  <a:pt x="2838" y="6168"/>
                </a:lnTo>
                <a:lnTo>
                  <a:pt x="2790" y="6162"/>
                </a:lnTo>
                <a:lnTo>
                  <a:pt x="2766" y="6168"/>
                </a:lnTo>
                <a:lnTo>
                  <a:pt x="2736" y="6156"/>
                </a:lnTo>
                <a:lnTo>
                  <a:pt x="2718" y="6162"/>
                </a:lnTo>
                <a:lnTo>
                  <a:pt x="2688" y="6156"/>
                </a:lnTo>
                <a:lnTo>
                  <a:pt x="2628" y="6150"/>
                </a:lnTo>
                <a:lnTo>
                  <a:pt x="2634" y="6102"/>
                </a:lnTo>
                <a:lnTo>
                  <a:pt x="2622" y="6144"/>
                </a:lnTo>
                <a:lnTo>
                  <a:pt x="2604" y="6138"/>
                </a:lnTo>
                <a:lnTo>
                  <a:pt x="2592" y="6144"/>
                </a:lnTo>
                <a:lnTo>
                  <a:pt x="2580" y="6144"/>
                </a:lnTo>
                <a:lnTo>
                  <a:pt x="2550" y="6132"/>
                </a:lnTo>
                <a:lnTo>
                  <a:pt x="2520" y="6114"/>
                </a:lnTo>
                <a:lnTo>
                  <a:pt x="2472" y="6084"/>
                </a:lnTo>
                <a:lnTo>
                  <a:pt x="2442" y="6054"/>
                </a:lnTo>
                <a:lnTo>
                  <a:pt x="2424" y="6042"/>
                </a:lnTo>
                <a:lnTo>
                  <a:pt x="2418" y="6036"/>
                </a:lnTo>
                <a:lnTo>
                  <a:pt x="2388" y="6024"/>
                </a:lnTo>
                <a:lnTo>
                  <a:pt x="2370" y="6018"/>
                </a:lnTo>
                <a:lnTo>
                  <a:pt x="2364" y="6018"/>
                </a:lnTo>
                <a:lnTo>
                  <a:pt x="2358" y="6024"/>
                </a:lnTo>
                <a:lnTo>
                  <a:pt x="2352" y="6030"/>
                </a:lnTo>
                <a:lnTo>
                  <a:pt x="2310" y="6006"/>
                </a:lnTo>
                <a:lnTo>
                  <a:pt x="2310" y="6000"/>
                </a:lnTo>
                <a:lnTo>
                  <a:pt x="2328" y="6006"/>
                </a:lnTo>
                <a:lnTo>
                  <a:pt x="2334" y="6006"/>
                </a:lnTo>
                <a:lnTo>
                  <a:pt x="2328" y="5988"/>
                </a:lnTo>
                <a:lnTo>
                  <a:pt x="2316" y="5976"/>
                </a:lnTo>
                <a:lnTo>
                  <a:pt x="2304" y="5964"/>
                </a:lnTo>
                <a:lnTo>
                  <a:pt x="2298" y="5958"/>
                </a:lnTo>
                <a:lnTo>
                  <a:pt x="2292" y="5964"/>
                </a:lnTo>
                <a:lnTo>
                  <a:pt x="2298" y="5976"/>
                </a:lnTo>
                <a:lnTo>
                  <a:pt x="2298" y="5988"/>
                </a:lnTo>
                <a:lnTo>
                  <a:pt x="2298" y="5994"/>
                </a:lnTo>
                <a:lnTo>
                  <a:pt x="2298" y="6000"/>
                </a:lnTo>
                <a:lnTo>
                  <a:pt x="2286" y="6000"/>
                </a:lnTo>
                <a:lnTo>
                  <a:pt x="2280" y="5994"/>
                </a:lnTo>
                <a:lnTo>
                  <a:pt x="2262" y="5970"/>
                </a:lnTo>
                <a:lnTo>
                  <a:pt x="2238" y="5958"/>
                </a:lnTo>
                <a:lnTo>
                  <a:pt x="2232" y="5946"/>
                </a:lnTo>
                <a:lnTo>
                  <a:pt x="2232" y="5940"/>
                </a:lnTo>
                <a:lnTo>
                  <a:pt x="2226" y="5934"/>
                </a:lnTo>
                <a:lnTo>
                  <a:pt x="2202" y="5904"/>
                </a:lnTo>
                <a:lnTo>
                  <a:pt x="2196" y="5904"/>
                </a:lnTo>
                <a:lnTo>
                  <a:pt x="2178" y="5868"/>
                </a:lnTo>
                <a:lnTo>
                  <a:pt x="2172" y="5862"/>
                </a:lnTo>
                <a:lnTo>
                  <a:pt x="2142" y="5832"/>
                </a:lnTo>
                <a:lnTo>
                  <a:pt x="2130" y="5832"/>
                </a:lnTo>
                <a:lnTo>
                  <a:pt x="2112" y="5808"/>
                </a:lnTo>
                <a:lnTo>
                  <a:pt x="2088" y="5784"/>
                </a:lnTo>
                <a:lnTo>
                  <a:pt x="2082" y="5772"/>
                </a:lnTo>
                <a:lnTo>
                  <a:pt x="2052" y="5742"/>
                </a:lnTo>
                <a:lnTo>
                  <a:pt x="2034" y="5712"/>
                </a:lnTo>
                <a:lnTo>
                  <a:pt x="2022" y="5706"/>
                </a:lnTo>
                <a:lnTo>
                  <a:pt x="2016" y="5700"/>
                </a:lnTo>
                <a:lnTo>
                  <a:pt x="2016" y="5694"/>
                </a:lnTo>
                <a:lnTo>
                  <a:pt x="2004" y="5694"/>
                </a:lnTo>
                <a:lnTo>
                  <a:pt x="2004" y="5682"/>
                </a:lnTo>
                <a:lnTo>
                  <a:pt x="1986" y="5676"/>
                </a:lnTo>
                <a:lnTo>
                  <a:pt x="1986" y="5670"/>
                </a:lnTo>
                <a:lnTo>
                  <a:pt x="1956" y="5640"/>
                </a:lnTo>
                <a:lnTo>
                  <a:pt x="1950" y="5628"/>
                </a:lnTo>
                <a:lnTo>
                  <a:pt x="1926" y="5616"/>
                </a:lnTo>
                <a:lnTo>
                  <a:pt x="1878" y="5580"/>
                </a:lnTo>
                <a:lnTo>
                  <a:pt x="1854" y="5562"/>
                </a:lnTo>
                <a:lnTo>
                  <a:pt x="1818" y="5550"/>
                </a:lnTo>
                <a:lnTo>
                  <a:pt x="1800" y="5538"/>
                </a:lnTo>
                <a:lnTo>
                  <a:pt x="1782" y="5532"/>
                </a:lnTo>
                <a:lnTo>
                  <a:pt x="1770" y="5520"/>
                </a:lnTo>
                <a:lnTo>
                  <a:pt x="1764" y="5520"/>
                </a:lnTo>
                <a:lnTo>
                  <a:pt x="1734" y="5514"/>
                </a:lnTo>
                <a:lnTo>
                  <a:pt x="1722" y="5508"/>
                </a:lnTo>
                <a:lnTo>
                  <a:pt x="1722" y="5502"/>
                </a:lnTo>
                <a:lnTo>
                  <a:pt x="1722" y="5490"/>
                </a:lnTo>
                <a:lnTo>
                  <a:pt x="1734" y="5472"/>
                </a:lnTo>
                <a:lnTo>
                  <a:pt x="1728" y="5472"/>
                </a:lnTo>
                <a:lnTo>
                  <a:pt x="1716" y="5490"/>
                </a:lnTo>
                <a:lnTo>
                  <a:pt x="1710" y="5502"/>
                </a:lnTo>
                <a:lnTo>
                  <a:pt x="1674" y="5490"/>
                </a:lnTo>
                <a:lnTo>
                  <a:pt x="1650" y="5472"/>
                </a:lnTo>
                <a:lnTo>
                  <a:pt x="1638" y="5466"/>
                </a:lnTo>
                <a:lnTo>
                  <a:pt x="1626" y="5442"/>
                </a:lnTo>
                <a:lnTo>
                  <a:pt x="1560" y="5316"/>
                </a:lnTo>
                <a:lnTo>
                  <a:pt x="1560" y="5304"/>
                </a:lnTo>
                <a:lnTo>
                  <a:pt x="1572" y="5310"/>
                </a:lnTo>
                <a:lnTo>
                  <a:pt x="1578" y="5310"/>
                </a:lnTo>
                <a:lnTo>
                  <a:pt x="1584" y="5304"/>
                </a:lnTo>
                <a:lnTo>
                  <a:pt x="1578" y="5292"/>
                </a:lnTo>
                <a:lnTo>
                  <a:pt x="1560" y="5280"/>
                </a:lnTo>
                <a:lnTo>
                  <a:pt x="1560" y="5298"/>
                </a:lnTo>
                <a:lnTo>
                  <a:pt x="1554" y="5280"/>
                </a:lnTo>
                <a:lnTo>
                  <a:pt x="1548" y="5268"/>
                </a:lnTo>
                <a:lnTo>
                  <a:pt x="1542" y="5250"/>
                </a:lnTo>
                <a:lnTo>
                  <a:pt x="1536" y="5238"/>
                </a:lnTo>
                <a:lnTo>
                  <a:pt x="1542" y="5232"/>
                </a:lnTo>
                <a:lnTo>
                  <a:pt x="1548" y="5238"/>
                </a:lnTo>
                <a:lnTo>
                  <a:pt x="1554" y="5232"/>
                </a:lnTo>
                <a:lnTo>
                  <a:pt x="1548" y="5226"/>
                </a:lnTo>
                <a:lnTo>
                  <a:pt x="1548" y="5220"/>
                </a:lnTo>
                <a:lnTo>
                  <a:pt x="1536" y="5232"/>
                </a:lnTo>
                <a:lnTo>
                  <a:pt x="1530" y="5232"/>
                </a:lnTo>
                <a:lnTo>
                  <a:pt x="1512" y="5190"/>
                </a:lnTo>
                <a:lnTo>
                  <a:pt x="1512" y="5172"/>
                </a:lnTo>
                <a:lnTo>
                  <a:pt x="1494" y="5130"/>
                </a:lnTo>
                <a:lnTo>
                  <a:pt x="1482" y="5112"/>
                </a:lnTo>
                <a:lnTo>
                  <a:pt x="1476" y="5100"/>
                </a:lnTo>
                <a:lnTo>
                  <a:pt x="1470" y="5082"/>
                </a:lnTo>
                <a:lnTo>
                  <a:pt x="1422" y="4980"/>
                </a:lnTo>
                <a:lnTo>
                  <a:pt x="1404" y="4956"/>
                </a:lnTo>
                <a:lnTo>
                  <a:pt x="1380" y="4908"/>
                </a:lnTo>
                <a:lnTo>
                  <a:pt x="1386" y="4908"/>
                </a:lnTo>
                <a:lnTo>
                  <a:pt x="1398" y="4914"/>
                </a:lnTo>
                <a:lnTo>
                  <a:pt x="1422" y="4926"/>
                </a:lnTo>
                <a:lnTo>
                  <a:pt x="1440" y="4914"/>
                </a:lnTo>
                <a:lnTo>
                  <a:pt x="1446" y="4908"/>
                </a:lnTo>
                <a:lnTo>
                  <a:pt x="1458" y="4896"/>
                </a:lnTo>
                <a:lnTo>
                  <a:pt x="1470" y="4884"/>
                </a:lnTo>
                <a:lnTo>
                  <a:pt x="1470" y="4878"/>
                </a:lnTo>
                <a:lnTo>
                  <a:pt x="1476" y="4872"/>
                </a:lnTo>
                <a:lnTo>
                  <a:pt x="1482" y="4866"/>
                </a:lnTo>
                <a:lnTo>
                  <a:pt x="1512" y="4836"/>
                </a:lnTo>
                <a:lnTo>
                  <a:pt x="1518" y="4818"/>
                </a:lnTo>
                <a:lnTo>
                  <a:pt x="1518" y="4788"/>
                </a:lnTo>
                <a:lnTo>
                  <a:pt x="1518" y="4770"/>
                </a:lnTo>
                <a:lnTo>
                  <a:pt x="1548" y="4728"/>
                </a:lnTo>
                <a:lnTo>
                  <a:pt x="1578" y="4710"/>
                </a:lnTo>
                <a:lnTo>
                  <a:pt x="1584" y="4704"/>
                </a:lnTo>
                <a:lnTo>
                  <a:pt x="1578" y="4704"/>
                </a:lnTo>
                <a:lnTo>
                  <a:pt x="1554" y="4716"/>
                </a:lnTo>
                <a:lnTo>
                  <a:pt x="1542" y="4728"/>
                </a:lnTo>
                <a:lnTo>
                  <a:pt x="1524" y="4746"/>
                </a:lnTo>
                <a:lnTo>
                  <a:pt x="1500" y="4764"/>
                </a:lnTo>
                <a:lnTo>
                  <a:pt x="1500" y="4776"/>
                </a:lnTo>
                <a:lnTo>
                  <a:pt x="1506" y="4806"/>
                </a:lnTo>
                <a:lnTo>
                  <a:pt x="1506" y="4818"/>
                </a:lnTo>
                <a:lnTo>
                  <a:pt x="1500" y="4836"/>
                </a:lnTo>
                <a:lnTo>
                  <a:pt x="1482" y="4842"/>
                </a:lnTo>
                <a:lnTo>
                  <a:pt x="1476" y="4854"/>
                </a:lnTo>
                <a:lnTo>
                  <a:pt x="1470" y="4848"/>
                </a:lnTo>
                <a:lnTo>
                  <a:pt x="1464" y="4854"/>
                </a:lnTo>
                <a:lnTo>
                  <a:pt x="1446" y="4872"/>
                </a:lnTo>
                <a:lnTo>
                  <a:pt x="1428" y="4878"/>
                </a:lnTo>
                <a:lnTo>
                  <a:pt x="1368" y="4878"/>
                </a:lnTo>
                <a:lnTo>
                  <a:pt x="1374" y="4890"/>
                </a:lnTo>
                <a:lnTo>
                  <a:pt x="1368" y="4890"/>
                </a:lnTo>
                <a:lnTo>
                  <a:pt x="1332" y="4836"/>
                </a:lnTo>
                <a:lnTo>
                  <a:pt x="1332" y="4824"/>
                </a:lnTo>
                <a:lnTo>
                  <a:pt x="1326" y="4818"/>
                </a:lnTo>
                <a:lnTo>
                  <a:pt x="1314" y="4806"/>
                </a:lnTo>
                <a:lnTo>
                  <a:pt x="1302" y="4776"/>
                </a:lnTo>
                <a:lnTo>
                  <a:pt x="1296" y="4776"/>
                </a:lnTo>
                <a:lnTo>
                  <a:pt x="1284" y="4770"/>
                </a:lnTo>
                <a:lnTo>
                  <a:pt x="1278" y="4764"/>
                </a:lnTo>
                <a:lnTo>
                  <a:pt x="1278" y="4758"/>
                </a:lnTo>
                <a:lnTo>
                  <a:pt x="1278" y="4752"/>
                </a:lnTo>
                <a:lnTo>
                  <a:pt x="1272" y="4752"/>
                </a:lnTo>
                <a:lnTo>
                  <a:pt x="1236" y="4722"/>
                </a:lnTo>
                <a:lnTo>
                  <a:pt x="1218" y="4692"/>
                </a:lnTo>
                <a:lnTo>
                  <a:pt x="1206" y="4680"/>
                </a:lnTo>
                <a:lnTo>
                  <a:pt x="1194" y="4644"/>
                </a:lnTo>
                <a:lnTo>
                  <a:pt x="1182" y="4620"/>
                </a:lnTo>
                <a:lnTo>
                  <a:pt x="1170" y="4608"/>
                </a:lnTo>
                <a:lnTo>
                  <a:pt x="1170" y="4602"/>
                </a:lnTo>
                <a:lnTo>
                  <a:pt x="1188" y="4584"/>
                </a:lnTo>
                <a:lnTo>
                  <a:pt x="1194" y="4542"/>
                </a:lnTo>
                <a:lnTo>
                  <a:pt x="1188" y="4530"/>
                </a:lnTo>
                <a:lnTo>
                  <a:pt x="1194" y="4524"/>
                </a:lnTo>
                <a:lnTo>
                  <a:pt x="1200" y="4524"/>
                </a:lnTo>
                <a:lnTo>
                  <a:pt x="1206" y="4518"/>
                </a:lnTo>
                <a:lnTo>
                  <a:pt x="1230" y="4524"/>
                </a:lnTo>
                <a:lnTo>
                  <a:pt x="1242" y="4530"/>
                </a:lnTo>
                <a:lnTo>
                  <a:pt x="1254" y="4548"/>
                </a:lnTo>
                <a:lnTo>
                  <a:pt x="1278" y="4554"/>
                </a:lnTo>
                <a:lnTo>
                  <a:pt x="1290" y="4560"/>
                </a:lnTo>
                <a:lnTo>
                  <a:pt x="1296" y="4554"/>
                </a:lnTo>
                <a:lnTo>
                  <a:pt x="1308" y="4554"/>
                </a:lnTo>
                <a:lnTo>
                  <a:pt x="1314" y="4560"/>
                </a:lnTo>
                <a:lnTo>
                  <a:pt x="1320" y="4560"/>
                </a:lnTo>
                <a:lnTo>
                  <a:pt x="1332" y="4566"/>
                </a:lnTo>
                <a:lnTo>
                  <a:pt x="1338" y="4572"/>
                </a:lnTo>
                <a:lnTo>
                  <a:pt x="1356" y="4572"/>
                </a:lnTo>
                <a:lnTo>
                  <a:pt x="1374" y="4572"/>
                </a:lnTo>
                <a:lnTo>
                  <a:pt x="1368" y="4566"/>
                </a:lnTo>
                <a:lnTo>
                  <a:pt x="1368" y="4554"/>
                </a:lnTo>
                <a:lnTo>
                  <a:pt x="1368" y="4548"/>
                </a:lnTo>
                <a:lnTo>
                  <a:pt x="1368" y="4536"/>
                </a:lnTo>
                <a:lnTo>
                  <a:pt x="1368" y="4530"/>
                </a:lnTo>
                <a:lnTo>
                  <a:pt x="1362" y="4530"/>
                </a:lnTo>
                <a:lnTo>
                  <a:pt x="1362" y="4524"/>
                </a:lnTo>
                <a:lnTo>
                  <a:pt x="1350" y="4524"/>
                </a:lnTo>
                <a:lnTo>
                  <a:pt x="1344" y="4518"/>
                </a:lnTo>
                <a:lnTo>
                  <a:pt x="1344" y="4524"/>
                </a:lnTo>
                <a:lnTo>
                  <a:pt x="1344" y="4530"/>
                </a:lnTo>
                <a:lnTo>
                  <a:pt x="1338" y="4536"/>
                </a:lnTo>
                <a:lnTo>
                  <a:pt x="1332" y="4554"/>
                </a:lnTo>
                <a:lnTo>
                  <a:pt x="1320" y="4548"/>
                </a:lnTo>
                <a:lnTo>
                  <a:pt x="1302" y="4542"/>
                </a:lnTo>
                <a:lnTo>
                  <a:pt x="1284" y="4542"/>
                </a:lnTo>
                <a:lnTo>
                  <a:pt x="1284" y="4536"/>
                </a:lnTo>
                <a:lnTo>
                  <a:pt x="1272" y="4542"/>
                </a:lnTo>
                <a:lnTo>
                  <a:pt x="1260" y="4530"/>
                </a:lnTo>
                <a:lnTo>
                  <a:pt x="1254" y="4524"/>
                </a:lnTo>
                <a:lnTo>
                  <a:pt x="1254" y="4518"/>
                </a:lnTo>
                <a:lnTo>
                  <a:pt x="1248" y="4518"/>
                </a:lnTo>
                <a:lnTo>
                  <a:pt x="1230" y="4512"/>
                </a:lnTo>
                <a:lnTo>
                  <a:pt x="1218" y="4500"/>
                </a:lnTo>
                <a:lnTo>
                  <a:pt x="1206" y="4494"/>
                </a:lnTo>
                <a:lnTo>
                  <a:pt x="1182" y="4500"/>
                </a:lnTo>
                <a:lnTo>
                  <a:pt x="1170" y="4506"/>
                </a:lnTo>
                <a:lnTo>
                  <a:pt x="1158" y="4512"/>
                </a:lnTo>
                <a:lnTo>
                  <a:pt x="1152" y="4512"/>
                </a:lnTo>
                <a:lnTo>
                  <a:pt x="1146" y="4512"/>
                </a:lnTo>
                <a:lnTo>
                  <a:pt x="1140" y="4506"/>
                </a:lnTo>
                <a:lnTo>
                  <a:pt x="1134" y="4512"/>
                </a:lnTo>
                <a:lnTo>
                  <a:pt x="1128" y="4512"/>
                </a:lnTo>
                <a:lnTo>
                  <a:pt x="1122" y="4518"/>
                </a:lnTo>
                <a:lnTo>
                  <a:pt x="1122" y="4536"/>
                </a:lnTo>
                <a:lnTo>
                  <a:pt x="1128" y="4554"/>
                </a:lnTo>
                <a:lnTo>
                  <a:pt x="1140" y="4572"/>
                </a:lnTo>
                <a:lnTo>
                  <a:pt x="1164" y="4596"/>
                </a:lnTo>
                <a:lnTo>
                  <a:pt x="1164" y="4608"/>
                </a:lnTo>
                <a:lnTo>
                  <a:pt x="1116" y="4566"/>
                </a:lnTo>
                <a:lnTo>
                  <a:pt x="1110" y="4566"/>
                </a:lnTo>
                <a:lnTo>
                  <a:pt x="1056" y="4566"/>
                </a:lnTo>
                <a:lnTo>
                  <a:pt x="1044" y="4572"/>
                </a:lnTo>
                <a:lnTo>
                  <a:pt x="1044" y="4602"/>
                </a:lnTo>
                <a:lnTo>
                  <a:pt x="1038" y="4602"/>
                </a:lnTo>
                <a:lnTo>
                  <a:pt x="1026" y="4602"/>
                </a:lnTo>
                <a:lnTo>
                  <a:pt x="1014" y="4596"/>
                </a:lnTo>
                <a:lnTo>
                  <a:pt x="1002" y="4590"/>
                </a:lnTo>
                <a:lnTo>
                  <a:pt x="972" y="4578"/>
                </a:lnTo>
                <a:lnTo>
                  <a:pt x="900" y="4566"/>
                </a:lnTo>
                <a:lnTo>
                  <a:pt x="882" y="4554"/>
                </a:lnTo>
                <a:lnTo>
                  <a:pt x="864" y="4560"/>
                </a:lnTo>
                <a:lnTo>
                  <a:pt x="816" y="4554"/>
                </a:lnTo>
                <a:lnTo>
                  <a:pt x="804" y="4536"/>
                </a:lnTo>
                <a:lnTo>
                  <a:pt x="804" y="4530"/>
                </a:lnTo>
                <a:lnTo>
                  <a:pt x="792" y="4500"/>
                </a:lnTo>
                <a:lnTo>
                  <a:pt x="786" y="4452"/>
                </a:lnTo>
                <a:lnTo>
                  <a:pt x="762" y="4440"/>
                </a:lnTo>
                <a:lnTo>
                  <a:pt x="750" y="4428"/>
                </a:lnTo>
                <a:lnTo>
                  <a:pt x="738" y="4434"/>
                </a:lnTo>
                <a:lnTo>
                  <a:pt x="726" y="4446"/>
                </a:lnTo>
                <a:lnTo>
                  <a:pt x="720" y="4446"/>
                </a:lnTo>
                <a:lnTo>
                  <a:pt x="666" y="4440"/>
                </a:lnTo>
                <a:lnTo>
                  <a:pt x="648" y="4440"/>
                </a:lnTo>
                <a:lnTo>
                  <a:pt x="636" y="4434"/>
                </a:lnTo>
                <a:lnTo>
                  <a:pt x="624" y="4428"/>
                </a:lnTo>
                <a:lnTo>
                  <a:pt x="606" y="4428"/>
                </a:lnTo>
                <a:lnTo>
                  <a:pt x="594" y="4416"/>
                </a:lnTo>
                <a:lnTo>
                  <a:pt x="588" y="4416"/>
                </a:lnTo>
                <a:lnTo>
                  <a:pt x="552" y="4404"/>
                </a:lnTo>
                <a:lnTo>
                  <a:pt x="528" y="4398"/>
                </a:lnTo>
                <a:lnTo>
                  <a:pt x="510" y="4380"/>
                </a:lnTo>
                <a:lnTo>
                  <a:pt x="498" y="4374"/>
                </a:lnTo>
                <a:lnTo>
                  <a:pt x="486" y="4374"/>
                </a:lnTo>
                <a:lnTo>
                  <a:pt x="474" y="4374"/>
                </a:lnTo>
                <a:lnTo>
                  <a:pt x="468" y="4374"/>
                </a:lnTo>
                <a:lnTo>
                  <a:pt x="462" y="4362"/>
                </a:lnTo>
                <a:lnTo>
                  <a:pt x="426" y="4338"/>
                </a:lnTo>
                <a:lnTo>
                  <a:pt x="420" y="4320"/>
                </a:lnTo>
                <a:lnTo>
                  <a:pt x="396" y="4314"/>
                </a:lnTo>
                <a:lnTo>
                  <a:pt x="390" y="4302"/>
                </a:lnTo>
                <a:lnTo>
                  <a:pt x="390" y="4296"/>
                </a:lnTo>
                <a:lnTo>
                  <a:pt x="378" y="4278"/>
                </a:lnTo>
                <a:lnTo>
                  <a:pt x="372" y="4278"/>
                </a:lnTo>
                <a:lnTo>
                  <a:pt x="330" y="4284"/>
                </a:lnTo>
                <a:lnTo>
                  <a:pt x="324" y="4284"/>
                </a:lnTo>
                <a:lnTo>
                  <a:pt x="318" y="4290"/>
                </a:lnTo>
                <a:lnTo>
                  <a:pt x="312" y="4302"/>
                </a:lnTo>
                <a:lnTo>
                  <a:pt x="306" y="4302"/>
                </a:lnTo>
                <a:lnTo>
                  <a:pt x="300" y="4296"/>
                </a:lnTo>
                <a:lnTo>
                  <a:pt x="300" y="4284"/>
                </a:lnTo>
                <a:lnTo>
                  <a:pt x="306" y="4284"/>
                </a:lnTo>
                <a:lnTo>
                  <a:pt x="306" y="4278"/>
                </a:lnTo>
                <a:lnTo>
                  <a:pt x="276" y="4278"/>
                </a:lnTo>
                <a:lnTo>
                  <a:pt x="264" y="4284"/>
                </a:lnTo>
                <a:lnTo>
                  <a:pt x="246" y="4266"/>
                </a:lnTo>
                <a:lnTo>
                  <a:pt x="210" y="4284"/>
                </a:lnTo>
                <a:lnTo>
                  <a:pt x="192" y="4272"/>
                </a:lnTo>
                <a:lnTo>
                  <a:pt x="174" y="4254"/>
                </a:lnTo>
                <a:lnTo>
                  <a:pt x="162" y="4242"/>
                </a:lnTo>
                <a:lnTo>
                  <a:pt x="156" y="4236"/>
                </a:lnTo>
                <a:lnTo>
                  <a:pt x="138" y="4230"/>
                </a:lnTo>
                <a:lnTo>
                  <a:pt x="102" y="4242"/>
                </a:lnTo>
                <a:lnTo>
                  <a:pt x="84" y="4242"/>
                </a:lnTo>
                <a:lnTo>
                  <a:pt x="84" y="4224"/>
                </a:lnTo>
                <a:lnTo>
                  <a:pt x="78" y="4224"/>
                </a:lnTo>
                <a:lnTo>
                  <a:pt x="72" y="4200"/>
                </a:lnTo>
                <a:lnTo>
                  <a:pt x="78" y="4194"/>
                </a:lnTo>
                <a:lnTo>
                  <a:pt x="78" y="4188"/>
                </a:lnTo>
                <a:lnTo>
                  <a:pt x="90" y="4188"/>
                </a:lnTo>
                <a:lnTo>
                  <a:pt x="102" y="4176"/>
                </a:lnTo>
                <a:lnTo>
                  <a:pt x="108" y="4176"/>
                </a:lnTo>
                <a:lnTo>
                  <a:pt x="120" y="4164"/>
                </a:lnTo>
                <a:lnTo>
                  <a:pt x="126" y="4152"/>
                </a:lnTo>
                <a:lnTo>
                  <a:pt x="126" y="4146"/>
                </a:lnTo>
                <a:lnTo>
                  <a:pt x="120" y="4134"/>
                </a:lnTo>
                <a:lnTo>
                  <a:pt x="120" y="4128"/>
                </a:lnTo>
                <a:lnTo>
                  <a:pt x="114" y="4116"/>
                </a:lnTo>
                <a:lnTo>
                  <a:pt x="114" y="4110"/>
                </a:lnTo>
                <a:lnTo>
                  <a:pt x="120" y="4098"/>
                </a:lnTo>
                <a:lnTo>
                  <a:pt x="132" y="4080"/>
                </a:lnTo>
                <a:lnTo>
                  <a:pt x="144" y="4086"/>
                </a:lnTo>
                <a:lnTo>
                  <a:pt x="168" y="4062"/>
                </a:lnTo>
                <a:lnTo>
                  <a:pt x="174" y="4044"/>
                </a:lnTo>
                <a:lnTo>
                  <a:pt x="186" y="4038"/>
                </a:lnTo>
                <a:lnTo>
                  <a:pt x="192" y="4032"/>
                </a:lnTo>
                <a:lnTo>
                  <a:pt x="228" y="4038"/>
                </a:lnTo>
                <a:lnTo>
                  <a:pt x="234" y="4038"/>
                </a:lnTo>
                <a:lnTo>
                  <a:pt x="234" y="4026"/>
                </a:lnTo>
                <a:lnTo>
                  <a:pt x="228" y="4026"/>
                </a:lnTo>
                <a:lnTo>
                  <a:pt x="216" y="4020"/>
                </a:lnTo>
                <a:lnTo>
                  <a:pt x="204" y="4008"/>
                </a:lnTo>
                <a:lnTo>
                  <a:pt x="192" y="4008"/>
                </a:lnTo>
                <a:lnTo>
                  <a:pt x="192" y="3996"/>
                </a:lnTo>
                <a:lnTo>
                  <a:pt x="186" y="3990"/>
                </a:lnTo>
                <a:lnTo>
                  <a:pt x="180" y="3972"/>
                </a:lnTo>
                <a:lnTo>
                  <a:pt x="180" y="3960"/>
                </a:lnTo>
                <a:lnTo>
                  <a:pt x="174" y="3960"/>
                </a:lnTo>
                <a:lnTo>
                  <a:pt x="174" y="3948"/>
                </a:lnTo>
                <a:lnTo>
                  <a:pt x="180" y="3948"/>
                </a:lnTo>
                <a:lnTo>
                  <a:pt x="180" y="3942"/>
                </a:lnTo>
                <a:lnTo>
                  <a:pt x="180" y="3936"/>
                </a:lnTo>
                <a:lnTo>
                  <a:pt x="228" y="3924"/>
                </a:lnTo>
                <a:lnTo>
                  <a:pt x="246" y="3900"/>
                </a:lnTo>
                <a:lnTo>
                  <a:pt x="252" y="3876"/>
                </a:lnTo>
                <a:lnTo>
                  <a:pt x="258" y="3870"/>
                </a:lnTo>
                <a:lnTo>
                  <a:pt x="264" y="3852"/>
                </a:lnTo>
                <a:lnTo>
                  <a:pt x="270" y="3846"/>
                </a:lnTo>
                <a:lnTo>
                  <a:pt x="276" y="3834"/>
                </a:lnTo>
                <a:lnTo>
                  <a:pt x="288" y="3816"/>
                </a:lnTo>
                <a:lnTo>
                  <a:pt x="294" y="3816"/>
                </a:lnTo>
                <a:lnTo>
                  <a:pt x="306" y="3804"/>
                </a:lnTo>
                <a:lnTo>
                  <a:pt x="330" y="3828"/>
                </a:lnTo>
                <a:lnTo>
                  <a:pt x="330" y="3840"/>
                </a:lnTo>
                <a:lnTo>
                  <a:pt x="336" y="3858"/>
                </a:lnTo>
                <a:lnTo>
                  <a:pt x="342" y="3864"/>
                </a:lnTo>
                <a:lnTo>
                  <a:pt x="342" y="3888"/>
                </a:lnTo>
                <a:lnTo>
                  <a:pt x="348" y="3900"/>
                </a:lnTo>
                <a:lnTo>
                  <a:pt x="348" y="3906"/>
                </a:lnTo>
                <a:lnTo>
                  <a:pt x="354" y="3912"/>
                </a:lnTo>
                <a:lnTo>
                  <a:pt x="360" y="3936"/>
                </a:lnTo>
                <a:lnTo>
                  <a:pt x="360" y="3948"/>
                </a:lnTo>
                <a:lnTo>
                  <a:pt x="348" y="3984"/>
                </a:lnTo>
                <a:lnTo>
                  <a:pt x="336" y="3984"/>
                </a:lnTo>
                <a:lnTo>
                  <a:pt x="330" y="4002"/>
                </a:lnTo>
                <a:lnTo>
                  <a:pt x="324" y="4014"/>
                </a:lnTo>
                <a:lnTo>
                  <a:pt x="324" y="4020"/>
                </a:lnTo>
                <a:lnTo>
                  <a:pt x="342" y="4014"/>
                </a:lnTo>
                <a:lnTo>
                  <a:pt x="348" y="4014"/>
                </a:lnTo>
                <a:lnTo>
                  <a:pt x="378" y="4044"/>
                </a:lnTo>
                <a:lnTo>
                  <a:pt x="408" y="4062"/>
                </a:lnTo>
                <a:lnTo>
                  <a:pt x="426" y="4068"/>
                </a:lnTo>
                <a:lnTo>
                  <a:pt x="426" y="4062"/>
                </a:lnTo>
                <a:lnTo>
                  <a:pt x="432" y="4062"/>
                </a:lnTo>
                <a:lnTo>
                  <a:pt x="438" y="4044"/>
                </a:lnTo>
                <a:lnTo>
                  <a:pt x="444" y="4038"/>
                </a:lnTo>
                <a:lnTo>
                  <a:pt x="450" y="4038"/>
                </a:lnTo>
                <a:lnTo>
                  <a:pt x="456" y="4038"/>
                </a:lnTo>
                <a:lnTo>
                  <a:pt x="474" y="4026"/>
                </a:lnTo>
                <a:lnTo>
                  <a:pt x="492" y="4026"/>
                </a:lnTo>
                <a:lnTo>
                  <a:pt x="492" y="4038"/>
                </a:lnTo>
                <a:lnTo>
                  <a:pt x="504" y="4038"/>
                </a:lnTo>
                <a:lnTo>
                  <a:pt x="540" y="4032"/>
                </a:lnTo>
                <a:lnTo>
                  <a:pt x="558" y="4026"/>
                </a:lnTo>
                <a:lnTo>
                  <a:pt x="576" y="4032"/>
                </a:lnTo>
                <a:lnTo>
                  <a:pt x="588" y="4062"/>
                </a:lnTo>
                <a:lnTo>
                  <a:pt x="600" y="4080"/>
                </a:lnTo>
                <a:lnTo>
                  <a:pt x="606" y="4074"/>
                </a:lnTo>
                <a:lnTo>
                  <a:pt x="624" y="4080"/>
                </a:lnTo>
                <a:lnTo>
                  <a:pt x="648" y="4068"/>
                </a:lnTo>
                <a:lnTo>
                  <a:pt x="660" y="4056"/>
                </a:lnTo>
                <a:close/>
                <a:moveTo>
                  <a:pt x="1332" y="1848"/>
                </a:moveTo>
                <a:lnTo>
                  <a:pt x="1314" y="1848"/>
                </a:lnTo>
                <a:lnTo>
                  <a:pt x="1314" y="1842"/>
                </a:lnTo>
                <a:lnTo>
                  <a:pt x="1326" y="1836"/>
                </a:lnTo>
                <a:lnTo>
                  <a:pt x="1338" y="1836"/>
                </a:lnTo>
                <a:lnTo>
                  <a:pt x="1332" y="1848"/>
                </a:lnTo>
                <a:close/>
                <a:moveTo>
                  <a:pt x="942" y="3966"/>
                </a:moveTo>
                <a:lnTo>
                  <a:pt x="936" y="3966"/>
                </a:lnTo>
                <a:lnTo>
                  <a:pt x="930" y="3948"/>
                </a:lnTo>
                <a:lnTo>
                  <a:pt x="936" y="3942"/>
                </a:lnTo>
                <a:lnTo>
                  <a:pt x="930" y="3930"/>
                </a:lnTo>
                <a:lnTo>
                  <a:pt x="942" y="3930"/>
                </a:lnTo>
                <a:lnTo>
                  <a:pt x="942" y="3942"/>
                </a:lnTo>
                <a:lnTo>
                  <a:pt x="948" y="3960"/>
                </a:lnTo>
                <a:lnTo>
                  <a:pt x="942" y="3966"/>
                </a:lnTo>
                <a:close/>
                <a:moveTo>
                  <a:pt x="906" y="3924"/>
                </a:moveTo>
                <a:lnTo>
                  <a:pt x="900" y="3930"/>
                </a:lnTo>
                <a:lnTo>
                  <a:pt x="894" y="3912"/>
                </a:lnTo>
                <a:lnTo>
                  <a:pt x="900" y="3906"/>
                </a:lnTo>
                <a:lnTo>
                  <a:pt x="906" y="3924"/>
                </a:lnTo>
                <a:close/>
                <a:moveTo>
                  <a:pt x="1200" y="5724"/>
                </a:moveTo>
                <a:lnTo>
                  <a:pt x="1182" y="5736"/>
                </a:lnTo>
                <a:lnTo>
                  <a:pt x="1176" y="5718"/>
                </a:lnTo>
                <a:lnTo>
                  <a:pt x="1182" y="5700"/>
                </a:lnTo>
                <a:lnTo>
                  <a:pt x="1188" y="5688"/>
                </a:lnTo>
                <a:lnTo>
                  <a:pt x="1206" y="5682"/>
                </a:lnTo>
                <a:lnTo>
                  <a:pt x="1206" y="5712"/>
                </a:lnTo>
                <a:lnTo>
                  <a:pt x="1200" y="5724"/>
                </a:lnTo>
                <a:close/>
                <a:moveTo>
                  <a:pt x="1536" y="5574"/>
                </a:moveTo>
                <a:lnTo>
                  <a:pt x="1542" y="5586"/>
                </a:lnTo>
                <a:lnTo>
                  <a:pt x="1536" y="5580"/>
                </a:lnTo>
                <a:lnTo>
                  <a:pt x="1530" y="5586"/>
                </a:lnTo>
                <a:lnTo>
                  <a:pt x="1524" y="5580"/>
                </a:lnTo>
                <a:lnTo>
                  <a:pt x="1518" y="5580"/>
                </a:lnTo>
                <a:lnTo>
                  <a:pt x="1512" y="5580"/>
                </a:lnTo>
                <a:lnTo>
                  <a:pt x="1512" y="5586"/>
                </a:lnTo>
                <a:lnTo>
                  <a:pt x="1536" y="5586"/>
                </a:lnTo>
                <a:lnTo>
                  <a:pt x="1542" y="5592"/>
                </a:lnTo>
                <a:lnTo>
                  <a:pt x="1542" y="5610"/>
                </a:lnTo>
                <a:lnTo>
                  <a:pt x="1536" y="5610"/>
                </a:lnTo>
                <a:lnTo>
                  <a:pt x="1518" y="5616"/>
                </a:lnTo>
                <a:lnTo>
                  <a:pt x="1506" y="5628"/>
                </a:lnTo>
                <a:lnTo>
                  <a:pt x="1494" y="5628"/>
                </a:lnTo>
                <a:lnTo>
                  <a:pt x="1482" y="5646"/>
                </a:lnTo>
                <a:lnTo>
                  <a:pt x="1470" y="5646"/>
                </a:lnTo>
                <a:lnTo>
                  <a:pt x="1464" y="5646"/>
                </a:lnTo>
                <a:lnTo>
                  <a:pt x="1458" y="5646"/>
                </a:lnTo>
                <a:lnTo>
                  <a:pt x="1476" y="5640"/>
                </a:lnTo>
                <a:lnTo>
                  <a:pt x="1470" y="5628"/>
                </a:lnTo>
                <a:lnTo>
                  <a:pt x="1476" y="5592"/>
                </a:lnTo>
                <a:lnTo>
                  <a:pt x="1482" y="5580"/>
                </a:lnTo>
                <a:lnTo>
                  <a:pt x="1476" y="5574"/>
                </a:lnTo>
                <a:lnTo>
                  <a:pt x="1482" y="5568"/>
                </a:lnTo>
                <a:lnTo>
                  <a:pt x="1500" y="5568"/>
                </a:lnTo>
                <a:lnTo>
                  <a:pt x="1518" y="5574"/>
                </a:lnTo>
                <a:lnTo>
                  <a:pt x="1536" y="5574"/>
                </a:lnTo>
                <a:close/>
                <a:moveTo>
                  <a:pt x="930" y="3360"/>
                </a:moveTo>
                <a:lnTo>
                  <a:pt x="930" y="3372"/>
                </a:lnTo>
                <a:lnTo>
                  <a:pt x="924" y="3372"/>
                </a:lnTo>
                <a:lnTo>
                  <a:pt x="918" y="3348"/>
                </a:lnTo>
                <a:lnTo>
                  <a:pt x="924" y="3348"/>
                </a:lnTo>
                <a:lnTo>
                  <a:pt x="930" y="3360"/>
                </a:lnTo>
                <a:close/>
                <a:moveTo>
                  <a:pt x="2868" y="2202"/>
                </a:moveTo>
                <a:lnTo>
                  <a:pt x="2844" y="2202"/>
                </a:lnTo>
                <a:lnTo>
                  <a:pt x="2838" y="2208"/>
                </a:lnTo>
                <a:lnTo>
                  <a:pt x="2826" y="2202"/>
                </a:lnTo>
                <a:lnTo>
                  <a:pt x="2808" y="2202"/>
                </a:lnTo>
                <a:lnTo>
                  <a:pt x="2808" y="2196"/>
                </a:lnTo>
                <a:lnTo>
                  <a:pt x="2808" y="2190"/>
                </a:lnTo>
                <a:lnTo>
                  <a:pt x="2826" y="2190"/>
                </a:lnTo>
                <a:lnTo>
                  <a:pt x="2832" y="2196"/>
                </a:lnTo>
                <a:lnTo>
                  <a:pt x="2844" y="2196"/>
                </a:lnTo>
                <a:lnTo>
                  <a:pt x="2856" y="2196"/>
                </a:lnTo>
                <a:lnTo>
                  <a:pt x="2874" y="2196"/>
                </a:lnTo>
                <a:lnTo>
                  <a:pt x="2868" y="2202"/>
                </a:lnTo>
                <a:close/>
                <a:moveTo>
                  <a:pt x="4554" y="2118"/>
                </a:moveTo>
                <a:lnTo>
                  <a:pt x="4542" y="2118"/>
                </a:lnTo>
                <a:lnTo>
                  <a:pt x="4530" y="2100"/>
                </a:lnTo>
                <a:lnTo>
                  <a:pt x="4524" y="2088"/>
                </a:lnTo>
                <a:lnTo>
                  <a:pt x="4536" y="2076"/>
                </a:lnTo>
                <a:lnTo>
                  <a:pt x="4536" y="2070"/>
                </a:lnTo>
                <a:lnTo>
                  <a:pt x="4542" y="2052"/>
                </a:lnTo>
                <a:lnTo>
                  <a:pt x="4542" y="2022"/>
                </a:lnTo>
                <a:lnTo>
                  <a:pt x="4548" y="2010"/>
                </a:lnTo>
                <a:lnTo>
                  <a:pt x="4554" y="2016"/>
                </a:lnTo>
                <a:lnTo>
                  <a:pt x="4560" y="2082"/>
                </a:lnTo>
                <a:lnTo>
                  <a:pt x="4566" y="2100"/>
                </a:lnTo>
                <a:lnTo>
                  <a:pt x="4554" y="2118"/>
                </a:lnTo>
                <a:close/>
                <a:moveTo>
                  <a:pt x="5004" y="1962"/>
                </a:moveTo>
                <a:lnTo>
                  <a:pt x="4986" y="1956"/>
                </a:lnTo>
                <a:lnTo>
                  <a:pt x="4986" y="1944"/>
                </a:lnTo>
                <a:lnTo>
                  <a:pt x="4998" y="1926"/>
                </a:lnTo>
                <a:lnTo>
                  <a:pt x="5016" y="1932"/>
                </a:lnTo>
                <a:lnTo>
                  <a:pt x="5022" y="1938"/>
                </a:lnTo>
                <a:lnTo>
                  <a:pt x="5022" y="1950"/>
                </a:lnTo>
                <a:lnTo>
                  <a:pt x="5004" y="1962"/>
                </a:lnTo>
                <a:close/>
                <a:moveTo>
                  <a:pt x="5142" y="1332"/>
                </a:moveTo>
                <a:lnTo>
                  <a:pt x="5136" y="1314"/>
                </a:lnTo>
                <a:lnTo>
                  <a:pt x="5130" y="1302"/>
                </a:lnTo>
                <a:lnTo>
                  <a:pt x="5136" y="1290"/>
                </a:lnTo>
                <a:lnTo>
                  <a:pt x="5136" y="1278"/>
                </a:lnTo>
                <a:lnTo>
                  <a:pt x="5148" y="1278"/>
                </a:lnTo>
                <a:lnTo>
                  <a:pt x="5148" y="1260"/>
                </a:lnTo>
                <a:lnTo>
                  <a:pt x="5154" y="1260"/>
                </a:lnTo>
                <a:lnTo>
                  <a:pt x="5166" y="1278"/>
                </a:lnTo>
                <a:lnTo>
                  <a:pt x="5166" y="1296"/>
                </a:lnTo>
                <a:lnTo>
                  <a:pt x="5160" y="1314"/>
                </a:lnTo>
                <a:lnTo>
                  <a:pt x="5148" y="1332"/>
                </a:lnTo>
                <a:lnTo>
                  <a:pt x="5142" y="1332"/>
                </a:lnTo>
                <a:close/>
                <a:moveTo>
                  <a:pt x="4164" y="6048"/>
                </a:moveTo>
                <a:lnTo>
                  <a:pt x="4164" y="6054"/>
                </a:lnTo>
                <a:lnTo>
                  <a:pt x="4140" y="6042"/>
                </a:lnTo>
                <a:lnTo>
                  <a:pt x="4140" y="6036"/>
                </a:lnTo>
                <a:lnTo>
                  <a:pt x="4158" y="6042"/>
                </a:lnTo>
                <a:lnTo>
                  <a:pt x="4164" y="6048"/>
                </a:lnTo>
                <a:close/>
                <a:moveTo>
                  <a:pt x="4230" y="6072"/>
                </a:moveTo>
                <a:lnTo>
                  <a:pt x="4212" y="6066"/>
                </a:lnTo>
                <a:lnTo>
                  <a:pt x="4206" y="6066"/>
                </a:lnTo>
                <a:lnTo>
                  <a:pt x="4206" y="6060"/>
                </a:lnTo>
                <a:lnTo>
                  <a:pt x="4248" y="6072"/>
                </a:lnTo>
                <a:lnTo>
                  <a:pt x="4230" y="6072"/>
                </a:lnTo>
                <a:close/>
                <a:moveTo>
                  <a:pt x="4074" y="5988"/>
                </a:moveTo>
                <a:lnTo>
                  <a:pt x="4068" y="6000"/>
                </a:lnTo>
                <a:lnTo>
                  <a:pt x="4080" y="5982"/>
                </a:lnTo>
                <a:lnTo>
                  <a:pt x="4080" y="5976"/>
                </a:lnTo>
                <a:lnTo>
                  <a:pt x="4080" y="5988"/>
                </a:lnTo>
                <a:lnTo>
                  <a:pt x="4074" y="5988"/>
                </a:lnTo>
                <a:close/>
                <a:moveTo>
                  <a:pt x="4152" y="6000"/>
                </a:moveTo>
                <a:lnTo>
                  <a:pt x="4146" y="6018"/>
                </a:lnTo>
                <a:lnTo>
                  <a:pt x="4146" y="6012"/>
                </a:lnTo>
                <a:lnTo>
                  <a:pt x="4146" y="6000"/>
                </a:lnTo>
                <a:lnTo>
                  <a:pt x="4152" y="5994"/>
                </a:lnTo>
                <a:lnTo>
                  <a:pt x="4152" y="6000"/>
                </a:lnTo>
                <a:close/>
                <a:moveTo>
                  <a:pt x="4050" y="5988"/>
                </a:moveTo>
                <a:lnTo>
                  <a:pt x="4044" y="6000"/>
                </a:lnTo>
                <a:lnTo>
                  <a:pt x="4050" y="5964"/>
                </a:lnTo>
                <a:lnTo>
                  <a:pt x="4056" y="5952"/>
                </a:lnTo>
                <a:lnTo>
                  <a:pt x="4068" y="5946"/>
                </a:lnTo>
                <a:lnTo>
                  <a:pt x="4068" y="5952"/>
                </a:lnTo>
                <a:lnTo>
                  <a:pt x="4056" y="5970"/>
                </a:lnTo>
                <a:lnTo>
                  <a:pt x="4050" y="5988"/>
                </a:lnTo>
                <a:close/>
                <a:moveTo>
                  <a:pt x="4056" y="6000"/>
                </a:moveTo>
                <a:lnTo>
                  <a:pt x="4056" y="5988"/>
                </a:lnTo>
                <a:lnTo>
                  <a:pt x="4068" y="5982"/>
                </a:lnTo>
                <a:lnTo>
                  <a:pt x="4068" y="5964"/>
                </a:lnTo>
                <a:lnTo>
                  <a:pt x="4074" y="5952"/>
                </a:lnTo>
                <a:lnTo>
                  <a:pt x="4080" y="5946"/>
                </a:lnTo>
                <a:lnTo>
                  <a:pt x="4080" y="5952"/>
                </a:lnTo>
                <a:lnTo>
                  <a:pt x="4074" y="5970"/>
                </a:lnTo>
                <a:lnTo>
                  <a:pt x="4074" y="5976"/>
                </a:lnTo>
                <a:lnTo>
                  <a:pt x="4056" y="6000"/>
                </a:lnTo>
                <a:close/>
                <a:moveTo>
                  <a:pt x="4122" y="5982"/>
                </a:moveTo>
                <a:lnTo>
                  <a:pt x="4110" y="6006"/>
                </a:lnTo>
                <a:lnTo>
                  <a:pt x="4110" y="6000"/>
                </a:lnTo>
                <a:lnTo>
                  <a:pt x="4122" y="5964"/>
                </a:lnTo>
                <a:lnTo>
                  <a:pt x="4128" y="5958"/>
                </a:lnTo>
                <a:lnTo>
                  <a:pt x="4122" y="5982"/>
                </a:lnTo>
                <a:close/>
                <a:moveTo>
                  <a:pt x="3960" y="5934"/>
                </a:moveTo>
                <a:lnTo>
                  <a:pt x="3954" y="5934"/>
                </a:lnTo>
                <a:lnTo>
                  <a:pt x="3984" y="5898"/>
                </a:lnTo>
                <a:lnTo>
                  <a:pt x="3984" y="5904"/>
                </a:lnTo>
                <a:lnTo>
                  <a:pt x="3972" y="5922"/>
                </a:lnTo>
                <a:lnTo>
                  <a:pt x="3960" y="5934"/>
                </a:lnTo>
                <a:close/>
                <a:moveTo>
                  <a:pt x="4314" y="6090"/>
                </a:moveTo>
                <a:lnTo>
                  <a:pt x="4260" y="6078"/>
                </a:lnTo>
                <a:lnTo>
                  <a:pt x="4260" y="6072"/>
                </a:lnTo>
                <a:lnTo>
                  <a:pt x="4266" y="6078"/>
                </a:lnTo>
                <a:lnTo>
                  <a:pt x="4272" y="6072"/>
                </a:lnTo>
                <a:lnTo>
                  <a:pt x="4284" y="6072"/>
                </a:lnTo>
                <a:lnTo>
                  <a:pt x="4314" y="6054"/>
                </a:lnTo>
                <a:lnTo>
                  <a:pt x="4356" y="6042"/>
                </a:lnTo>
                <a:lnTo>
                  <a:pt x="4332" y="6072"/>
                </a:lnTo>
                <a:lnTo>
                  <a:pt x="4326" y="6072"/>
                </a:lnTo>
                <a:lnTo>
                  <a:pt x="4314" y="6090"/>
                </a:lnTo>
                <a:close/>
                <a:moveTo>
                  <a:pt x="4176" y="5958"/>
                </a:moveTo>
                <a:lnTo>
                  <a:pt x="4170" y="5988"/>
                </a:lnTo>
                <a:lnTo>
                  <a:pt x="4170" y="5982"/>
                </a:lnTo>
                <a:lnTo>
                  <a:pt x="4170" y="5958"/>
                </a:lnTo>
                <a:lnTo>
                  <a:pt x="4176" y="5958"/>
                </a:lnTo>
                <a:close/>
                <a:moveTo>
                  <a:pt x="4188" y="5964"/>
                </a:moveTo>
                <a:lnTo>
                  <a:pt x="4182" y="5988"/>
                </a:lnTo>
                <a:lnTo>
                  <a:pt x="4182" y="5982"/>
                </a:lnTo>
                <a:lnTo>
                  <a:pt x="4188" y="5964"/>
                </a:lnTo>
                <a:close/>
                <a:moveTo>
                  <a:pt x="4086" y="5916"/>
                </a:moveTo>
                <a:lnTo>
                  <a:pt x="4074" y="5940"/>
                </a:lnTo>
                <a:lnTo>
                  <a:pt x="4074" y="5934"/>
                </a:lnTo>
                <a:lnTo>
                  <a:pt x="4086" y="5916"/>
                </a:lnTo>
                <a:close/>
                <a:moveTo>
                  <a:pt x="4146" y="5946"/>
                </a:moveTo>
                <a:lnTo>
                  <a:pt x="4134" y="5970"/>
                </a:lnTo>
                <a:lnTo>
                  <a:pt x="4128" y="5970"/>
                </a:lnTo>
                <a:lnTo>
                  <a:pt x="4134" y="5946"/>
                </a:lnTo>
                <a:lnTo>
                  <a:pt x="4140" y="5940"/>
                </a:lnTo>
                <a:lnTo>
                  <a:pt x="4146" y="5946"/>
                </a:lnTo>
                <a:close/>
                <a:moveTo>
                  <a:pt x="4032" y="5976"/>
                </a:moveTo>
                <a:lnTo>
                  <a:pt x="4020" y="6000"/>
                </a:lnTo>
                <a:lnTo>
                  <a:pt x="3996" y="5988"/>
                </a:lnTo>
                <a:lnTo>
                  <a:pt x="4002" y="5976"/>
                </a:lnTo>
                <a:lnTo>
                  <a:pt x="4002" y="5952"/>
                </a:lnTo>
                <a:lnTo>
                  <a:pt x="4020" y="5922"/>
                </a:lnTo>
                <a:lnTo>
                  <a:pt x="4026" y="5910"/>
                </a:lnTo>
                <a:lnTo>
                  <a:pt x="4026" y="5904"/>
                </a:lnTo>
                <a:lnTo>
                  <a:pt x="4050" y="5898"/>
                </a:lnTo>
                <a:lnTo>
                  <a:pt x="4044" y="5934"/>
                </a:lnTo>
                <a:lnTo>
                  <a:pt x="4038" y="5940"/>
                </a:lnTo>
                <a:lnTo>
                  <a:pt x="4038" y="5964"/>
                </a:lnTo>
                <a:lnTo>
                  <a:pt x="4032" y="5976"/>
                </a:lnTo>
                <a:close/>
                <a:moveTo>
                  <a:pt x="4026" y="6006"/>
                </a:moveTo>
                <a:lnTo>
                  <a:pt x="4020" y="6006"/>
                </a:lnTo>
                <a:lnTo>
                  <a:pt x="4014" y="6006"/>
                </a:lnTo>
                <a:lnTo>
                  <a:pt x="4026" y="5994"/>
                </a:lnTo>
                <a:lnTo>
                  <a:pt x="4038" y="5970"/>
                </a:lnTo>
                <a:lnTo>
                  <a:pt x="4044" y="5946"/>
                </a:lnTo>
                <a:lnTo>
                  <a:pt x="4050" y="5934"/>
                </a:lnTo>
                <a:lnTo>
                  <a:pt x="4056" y="5910"/>
                </a:lnTo>
                <a:lnTo>
                  <a:pt x="4056" y="5904"/>
                </a:lnTo>
                <a:lnTo>
                  <a:pt x="4062" y="5898"/>
                </a:lnTo>
                <a:lnTo>
                  <a:pt x="4056" y="5922"/>
                </a:lnTo>
                <a:lnTo>
                  <a:pt x="4044" y="5958"/>
                </a:lnTo>
                <a:lnTo>
                  <a:pt x="4044" y="5976"/>
                </a:lnTo>
                <a:lnTo>
                  <a:pt x="4026" y="6006"/>
                </a:lnTo>
                <a:close/>
                <a:moveTo>
                  <a:pt x="3966" y="5886"/>
                </a:moveTo>
                <a:lnTo>
                  <a:pt x="3960" y="5886"/>
                </a:lnTo>
                <a:lnTo>
                  <a:pt x="3972" y="5868"/>
                </a:lnTo>
                <a:lnTo>
                  <a:pt x="3990" y="5856"/>
                </a:lnTo>
                <a:lnTo>
                  <a:pt x="3990" y="5862"/>
                </a:lnTo>
                <a:lnTo>
                  <a:pt x="3966" y="5886"/>
                </a:lnTo>
                <a:close/>
                <a:moveTo>
                  <a:pt x="4002" y="5886"/>
                </a:moveTo>
                <a:lnTo>
                  <a:pt x="3996" y="5886"/>
                </a:lnTo>
                <a:lnTo>
                  <a:pt x="4002" y="5880"/>
                </a:lnTo>
                <a:lnTo>
                  <a:pt x="4014" y="5868"/>
                </a:lnTo>
                <a:lnTo>
                  <a:pt x="4020" y="5868"/>
                </a:lnTo>
                <a:lnTo>
                  <a:pt x="4020" y="5874"/>
                </a:lnTo>
                <a:lnTo>
                  <a:pt x="4002" y="5886"/>
                </a:lnTo>
                <a:close/>
                <a:moveTo>
                  <a:pt x="4176" y="5934"/>
                </a:moveTo>
                <a:lnTo>
                  <a:pt x="4164" y="5952"/>
                </a:lnTo>
                <a:lnTo>
                  <a:pt x="4164" y="5940"/>
                </a:lnTo>
                <a:lnTo>
                  <a:pt x="4164" y="5934"/>
                </a:lnTo>
                <a:lnTo>
                  <a:pt x="4170" y="5928"/>
                </a:lnTo>
                <a:lnTo>
                  <a:pt x="4176" y="5928"/>
                </a:lnTo>
                <a:lnTo>
                  <a:pt x="4176" y="5934"/>
                </a:lnTo>
                <a:close/>
                <a:moveTo>
                  <a:pt x="4110" y="5898"/>
                </a:moveTo>
                <a:lnTo>
                  <a:pt x="4098" y="5916"/>
                </a:lnTo>
                <a:lnTo>
                  <a:pt x="4098" y="5910"/>
                </a:lnTo>
                <a:lnTo>
                  <a:pt x="4110" y="5898"/>
                </a:lnTo>
                <a:close/>
                <a:moveTo>
                  <a:pt x="3972" y="5856"/>
                </a:moveTo>
                <a:lnTo>
                  <a:pt x="3960" y="5862"/>
                </a:lnTo>
                <a:lnTo>
                  <a:pt x="3978" y="5838"/>
                </a:lnTo>
                <a:lnTo>
                  <a:pt x="3978" y="5844"/>
                </a:lnTo>
                <a:lnTo>
                  <a:pt x="3972" y="5856"/>
                </a:lnTo>
                <a:close/>
                <a:moveTo>
                  <a:pt x="4182" y="5940"/>
                </a:moveTo>
                <a:lnTo>
                  <a:pt x="4176" y="5970"/>
                </a:lnTo>
                <a:lnTo>
                  <a:pt x="4182" y="5922"/>
                </a:lnTo>
                <a:lnTo>
                  <a:pt x="4182" y="5940"/>
                </a:lnTo>
                <a:close/>
                <a:moveTo>
                  <a:pt x="4128" y="6030"/>
                </a:moveTo>
                <a:lnTo>
                  <a:pt x="4110" y="6036"/>
                </a:lnTo>
                <a:lnTo>
                  <a:pt x="4116" y="6012"/>
                </a:lnTo>
                <a:lnTo>
                  <a:pt x="4122" y="6000"/>
                </a:lnTo>
                <a:lnTo>
                  <a:pt x="4134" y="5988"/>
                </a:lnTo>
                <a:lnTo>
                  <a:pt x="4146" y="5946"/>
                </a:lnTo>
                <a:lnTo>
                  <a:pt x="4158" y="5910"/>
                </a:lnTo>
                <a:lnTo>
                  <a:pt x="4164" y="5892"/>
                </a:lnTo>
                <a:lnTo>
                  <a:pt x="4170" y="5892"/>
                </a:lnTo>
                <a:lnTo>
                  <a:pt x="4164" y="5916"/>
                </a:lnTo>
                <a:lnTo>
                  <a:pt x="4164" y="5946"/>
                </a:lnTo>
                <a:lnTo>
                  <a:pt x="4152" y="5988"/>
                </a:lnTo>
                <a:lnTo>
                  <a:pt x="4140" y="6000"/>
                </a:lnTo>
                <a:lnTo>
                  <a:pt x="4134" y="6018"/>
                </a:lnTo>
                <a:lnTo>
                  <a:pt x="4128" y="6030"/>
                </a:lnTo>
                <a:close/>
                <a:moveTo>
                  <a:pt x="3996" y="5832"/>
                </a:moveTo>
                <a:lnTo>
                  <a:pt x="4014" y="5808"/>
                </a:lnTo>
                <a:lnTo>
                  <a:pt x="4014" y="5814"/>
                </a:lnTo>
                <a:lnTo>
                  <a:pt x="4008" y="5826"/>
                </a:lnTo>
                <a:lnTo>
                  <a:pt x="3996" y="5832"/>
                </a:lnTo>
                <a:close/>
                <a:moveTo>
                  <a:pt x="4104" y="6030"/>
                </a:moveTo>
                <a:lnTo>
                  <a:pt x="4092" y="6036"/>
                </a:lnTo>
                <a:lnTo>
                  <a:pt x="4080" y="6024"/>
                </a:lnTo>
                <a:lnTo>
                  <a:pt x="4056" y="6024"/>
                </a:lnTo>
                <a:lnTo>
                  <a:pt x="4062" y="6018"/>
                </a:lnTo>
                <a:lnTo>
                  <a:pt x="4056" y="6012"/>
                </a:lnTo>
                <a:lnTo>
                  <a:pt x="4080" y="5994"/>
                </a:lnTo>
                <a:lnTo>
                  <a:pt x="4086" y="5988"/>
                </a:lnTo>
                <a:lnTo>
                  <a:pt x="4092" y="5982"/>
                </a:lnTo>
                <a:lnTo>
                  <a:pt x="4092" y="5946"/>
                </a:lnTo>
                <a:lnTo>
                  <a:pt x="4110" y="5928"/>
                </a:lnTo>
                <a:lnTo>
                  <a:pt x="4122" y="5892"/>
                </a:lnTo>
                <a:lnTo>
                  <a:pt x="4140" y="5868"/>
                </a:lnTo>
                <a:lnTo>
                  <a:pt x="4146" y="5862"/>
                </a:lnTo>
                <a:lnTo>
                  <a:pt x="4146" y="5856"/>
                </a:lnTo>
                <a:lnTo>
                  <a:pt x="4140" y="5874"/>
                </a:lnTo>
                <a:lnTo>
                  <a:pt x="4140" y="5892"/>
                </a:lnTo>
                <a:lnTo>
                  <a:pt x="4134" y="5916"/>
                </a:lnTo>
                <a:lnTo>
                  <a:pt x="4122" y="5946"/>
                </a:lnTo>
                <a:lnTo>
                  <a:pt x="4110" y="5988"/>
                </a:lnTo>
                <a:lnTo>
                  <a:pt x="4104" y="6030"/>
                </a:lnTo>
                <a:close/>
                <a:moveTo>
                  <a:pt x="5220" y="5694"/>
                </a:moveTo>
                <a:lnTo>
                  <a:pt x="5214" y="5694"/>
                </a:lnTo>
                <a:lnTo>
                  <a:pt x="5214" y="5688"/>
                </a:lnTo>
                <a:lnTo>
                  <a:pt x="5226" y="5688"/>
                </a:lnTo>
                <a:lnTo>
                  <a:pt x="5220" y="5694"/>
                </a:lnTo>
                <a:close/>
                <a:moveTo>
                  <a:pt x="5604" y="5754"/>
                </a:moveTo>
                <a:lnTo>
                  <a:pt x="5592" y="5754"/>
                </a:lnTo>
                <a:lnTo>
                  <a:pt x="5598" y="5748"/>
                </a:lnTo>
                <a:lnTo>
                  <a:pt x="5604" y="5748"/>
                </a:lnTo>
                <a:lnTo>
                  <a:pt x="5604" y="5754"/>
                </a:lnTo>
                <a:close/>
                <a:moveTo>
                  <a:pt x="5466" y="5694"/>
                </a:moveTo>
                <a:lnTo>
                  <a:pt x="5454" y="5688"/>
                </a:lnTo>
                <a:lnTo>
                  <a:pt x="5448" y="5688"/>
                </a:lnTo>
                <a:lnTo>
                  <a:pt x="5460" y="5682"/>
                </a:lnTo>
                <a:lnTo>
                  <a:pt x="5466" y="5688"/>
                </a:lnTo>
                <a:lnTo>
                  <a:pt x="5466" y="5694"/>
                </a:lnTo>
                <a:close/>
                <a:moveTo>
                  <a:pt x="5484" y="5682"/>
                </a:moveTo>
                <a:lnTo>
                  <a:pt x="5484" y="5688"/>
                </a:lnTo>
                <a:lnTo>
                  <a:pt x="5478" y="5682"/>
                </a:lnTo>
                <a:lnTo>
                  <a:pt x="5484" y="5682"/>
                </a:lnTo>
                <a:close/>
                <a:moveTo>
                  <a:pt x="5412" y="5664"/>
                </a:moveTo>
                <a:lnTo>
                  <a:pt x="5406" y="5652"/>
                </a:lnTo>
                <a:lnTo>
                  <a:pt x="5406" y="5646"/>
                </a:lnTo>
                <a:lnTo>
                  <a:pt x="5412" y="5664"/>
                </a:lnTo>
                <a:close/>
                <a:moveTo>
                  <a:pt x="5580" y="5682"/>
                </a:moveTo>
                <a:lnTo>
                  <a:pt x="5574" y="5682"/>
                </a:lnTo>
                <a:lnTo>
                  <a:pt x="5580" y="5670"/>
                </a:lnTo>
                <a:lnTo>
                  <a:pt x="5580" y="5682"/>
                </a:lnTo>
                <a:close/>
                <a:moveTo>
                  <a:pt x="5556" y="5568"/>
                </a:moveTo>
                <a:lnTo>
                  <a:pt x="5562" y="5586"/>
                </a:lnTo>
                <a:lnTo>
                  <a:pt x="5562" y="5598"/>
                </a:lnTo>
                <a:lnTo>
                  <a:pt x="5556" y="5598"/>
                </a:lnTo>
                <a:lnTo>
                  <a:pt x="5556" y="5574"/>
                </a:lnTo>
                <a:lnTo>
                  <a:pt x="5550" y="5574"/>
                </a:lnTo>
                <a:lnTo>
                  <a:pt x="5544" y="5604"/>
                </a:lnTo>
                <a:lnTo>
                  <a:pt x="5538" y="5610"/>
                </a:lnTo>
                <a:lnTo>
                  <a:pt x="5538" y="5604"/>
                </a:lnTo>
                <a:lnTo>
                  <a:pt x="5532" y="5598"/>
                </a:lnTo>
                <a:lnTo>
                  <a:pt x="5532" y="5580"/>
                </a:lnTo>
                <a:lnTo>
                  <a:pt x="5544" y="5556"/>
                </a:lnTo>
                <a:lnTo>
                  <a:pt x="5544" y="5538"/>
                </a:lnTo>
                <a:lnTo>
                  <a:pt x="5544" y="5532"/>
                </a:lnTo>
                <a:lnTo>
                  <a:pt x="5550" y="5532"/>
                </a:lnTo>
                <a:lnTo>
                  <a:pt x="5556" y="5568"/>
                </a:lnTo>
                <a:close/>
                <a:moveTo>
                  <a:pt x="5544" y="5514"/>
                </a:moveTo>
                <a:lnTo>
                  <a:pt x="5544" y="5526"/>
                </a:lnTo>
                <a:lnTo>
                  <a:pt x="5538" y="5526"/>
                </a:lnTo>
                <a:lnTo>
                  <a:pt x="5532" y="5508"/>
                </a:lnTo>
                <a:lnTo>
                  <a:pt x="5538" y="5508"/>
                </a:lnTo>
                <a:lnTo>
                  <a:pt x="5544" y="5514"/>
                </a:lnTo>
                <a:close/>
                <a:moveTo>
                  <a:pt x="6270" y="5412"/>
                </a:moveTo>
                <a:lnTo>
                  <a:pt x="6258" y="5412"/>
                </a:lnTo>
                <a:lnTo>
                  <a:pt x="6264" y="5406"/>
                </a:lnTo>
                <a:lnTo>
                  <a:pt x="6258" y="5394"/>
                </a:lnTo>
                <a:lnTo>
                  <a:pt x="6264" y="5394"/>
                </a:lnTo>
                <a:lnTo>
                  <a:pt x="6270" y="5406"/>
                </a:lnTo>
                <a:lnTo>
                  <a:pt x="6270" y="5412"/>
                </a:lnTo>
                <a:close/>
                <a:moveTo>
                  <a:pt x="6540" y="5454"/>
                </a:moveTo>
                <a:lnTo>
                  <a:pt x="6528" y="5454"/>
                </a:lnTo>
                <a:lnTo>
                  <a:pt x="6522" y="5436"/>
                </a:lnTo>
                <a:lnTo>
                  <a:pt x="6534" y="5436"/>
                </a:lnTo>
                <a:lnTo>
                  <a:pt x="6546" y="5442"/>
                </a:lnTo>
                <a:lnTo>
                  <a:pt x="6540" y="5454"/>
                </a:lnTo>
                <a:close/>
                <a:moveTo>
                  <a:pt x="6450" y="5376"/>
                </a:moveTo>
                <a:lnTo>
                  <a:pt x="6432" y="5376"/>
                </a:lnTo>
                <a:lnTo>
                  <a:pt x="6426" y="5376"/>
                </a:lnTo>
                <a:lnTo>
                  <a:pt x="6426" y="5370"/>
                </a:lnTo>
                <a:lnTo>
                  <a:pt x="6450" y="5364"/>
                </a:lnTo>
                <a:lnTo>
                  <a:pt x="6456" y="5358"/>
                </a:lnTo>
                <a:lnTo>
                  <a:pt x="6456" y="5340"/>
                </a:lnTo>
                <a:lnTo>
                  <a:pt x="6462" y="5346"/>
                </a:lnTo>
                <a:lnTo>
                  <a:pt x="6462" y="5352"/>
                </a:lnTo>
                <a:lnTo>
                  <a:pt x="6468" y="5358"/>
                </a:lnTo>
                <a:lnTo>
                  <a:pt x="6450" y="5376"/>
                </a:lnTo>
                <a:close/>
                <a:moveTo>
                  <a:pt x="7098" y="5052"/>
                </a:moveTo>
                <a:lnTo>
                  <a:pt x="7092" y="5046"/>
                </a:lnTo>
                <a:lnTo>
                  <a:pt x="7098" y="5040"/>
                </a:lnTo>
                <a:lnTo>
                  <a:pt x="7104" y="5046"/>
                </a:lnTo>
                <a:lnTo>
                  <a:pt x="7098" y="5052"/>
                </a:lnTo>
                <a:close/>
                <a:moveTo>
                  <a:pt x="2910" y="2136"/>
                </a:moveTo>
                <a:lnTo>
                  <a:pt x="2844" y="2118"/>
                </a:lnTo>
                <a:lnTo>
                  <a:pt x="2844" y="2106"/>
                </a:lnTo>
                <a:lnTo>
                  <a:pt x="2898" y="2124"/>
                </a:lnTo>
                <a:lnTo>
                  <a:pt x="2934" y="2124"/>
                </a:lnTo>
                <a:lnTo>
                  <a:pt x="2946" y="2136"/>
                </a:lnTo>
                <a:lnTo>
                  <a:pt x="2940" y="2136"/>
                </a:lnTo>
                <a:lnTo>
                  <a:pt x="2910" y="2136"/>
                </a:lnTo>
                <a:close/>
                <a:moveTo>
                  <a:pt x="3666" y="1806"/>
                </a:moveTo>
                <a:lnTo>
                  <a:pt x="3654" y="1806"/>
                </a:lnTo>
                <a:lnTo>
                  <a:pt x="3648" y="1800"/>
                </a:lnTo>
                <a:lnTo>
                  <a:pt x="3648" y="1794"/>
                </a:lnTo>
                <a:lnTo>
                  <a:pt x="3666" y="1782"/>
                </a:lnTo>
                <a:lnTo>
                  <a:pt x="3672" y="1794"/>
                </a:lnTo>
                <a:lnTo>
                  <a:pt x="3672" y="1800"/>
                </a:lnTo>
                <a:lnTo>
                  <a:pt x="3666" y="1806"/>
                </a:lnTo>
                <a:close/>
                <a:moveTo>
                  <a:pt x="3804" y="1758"/>
                </a:moveTo>
                <a:lnTo>
                  <a:pt x="3798" y="1758"/>
                </a:lnTo>
                <a:lnTo>
                  <a:pt x="3798" y="1752"/>
                </a:lnTo>
                <a:lnTo>
                  <a:pt x="3804" y="1728"/>
                </a:lnTo>
                <a:lnTo>
                  <a:pt x="3798" y="1722"/>
                </a:lnTo>
                <a:lnTo>
                  <a:pt x="3798" y="1704"/>
                </a:lnTo>
                <a:lnTo>
                  <a:pt x="3804" y="1698"/>
                </a:lnTo>
                <a:lnTo>
                  <a:pt x="3810" y="1692"/>
                </a:lnTo>
                <a:lnTo>
                  <a:pt x="3810" y="1698"/>
                </a:lnTo>
                <a:lnTo>
                  <a:pt x="3810" y="1710"/>
                </a:lnTo>
                <a:lnTo>
                  <a:pt x="3816" y="1722"/>
                </a:lnTo>
                <a:lnTo>
                  <a:pt x="3804" y="1758"/>
                </a:lnTo>
                <a:close/>
                <a:moveTo>
                  <a:pt x="918" y="3330"/>
                </a:moveTo>
                <a:lnTo>
                  <a:pt x="906" y="3342"/>
                </a:lnTo>
                <a:lnTo>
                  <a:pt x="912" y="3330"/>
                </a:lnTo>
                <a:lnTo>
                  <a:pt x="918" y="3330"/>
                </a:lnTo>
                <a:close/>
                <a:moveTo>
                  <a:pt x="900" y="3276"/>
                </a:moveTo>
                <a:lnTo>
                  <a:pt x="894" y="3276"/>
                </a:lnTo>
                <a:lnTo>
                  <a:pt x="900" y="3270"/>
                </a:lnTo>
                <a:lnTo>
                  <a:pt x="906" y="3270"/>
                </a:lnTo>
                <a:lnTo>
                  <a:pt x="900" y="3276"/>
                </a:lnTo>
                <a:close/>
                <a:moveTo>
                  <a:pt x="912" y="3270"/>
                </a:moveTo>
                <a:lnTo>
                  <a:pt x="912" y="3258"/>
                </a:lnTo>
                <a:lnTo>
                  <a:pt x="918" y="3252"/>
                </a:lnTo>
                <a:lnTo>
                  <a:pt x="918" y="3264"/>
                </a:lnTo>
                <a:lnTo>
                  <a:pt x="912" y="3270"/>
                </a:lnTo>
                <a:close/>
                <a:moveTo>
                  <a:pt x="948" y="3264"/>
                </a:moveTo>
                <a:lnTo>
                  <a:pt x="942" y="3264"/>
                </a:lnTo>
                <a:lnTo>
                  <a:pt x="942" y="3258"/>
                </a:lnTo>
                <a:lnTo>
                  <a:pt x="942" y="3252"/>
                </a:lnTo>
                <a:lnTo>
                  <a:pt x="942" y="3246"/>
                </a:lnTo>
                <a:lnTo>
                  <a:pt x="954" y="3258"/>
                </a:lnTo>
                <a:lnTo>
                  <a:pt x="948" y="3264"/>
                </a:lnTo>
                <a:close/>
                <a:moveTo>
                  <a:pt x="852" y="3240"/>
                </a:moveTo>
                <a:lnTo>
                  <a:pt x="852" y="3234"/>
                </a:lnTo>
                <a:lnTo>
                  <a:pt x="858" y="3216"/>
                </a:lnTo>
                <a:lnTo>
                  <a:pt x="876" y="3210"/>
                </a:lnTo>
                <a:lnTo>
                  <a:pt x="882" y="3210"/>
                </a:lnTo>
                <a:lnTo>
                  <a:pt x="888" y="3222"/>
                </a:lnTo>
                <a:lnTo>
                  <a:pt x="882" y="3228"/>
                </a:lnTo>
                <a:lnTo>
                  <a:pt x="864" y="3228"/>
                </a:lnTo>
                <a:lnTo>
                  <a:pt x="852" y="3240"/>
                </a:lnTo>
                <a:close/>
                <a:moveTo>
                  <a:pt x="924" y="3222"/>
                </a:moveTo>
                <a:lnTo>
                  <a:pt x="918" y="3222"/>
                </a:lnTo>
                <a:lnTo>
                  <a:pt x="918" y="3216"/>
                </a:lnTo>
                <a:lnTo>
                  <a:pt x="930" y="3216"/>
                </a:lnTo>
                <a:lnTo>
                  <a:pt x="924" y="3222"/>
                </a:lnTo>
                <a:close/>
                <a:moveTo>
                  <a:pt x="948" y="3222"/>
                </a:moveTo>
                <a:lnTo>
                  <a:pt x="942" y="3222"/>
                </a:lnTo>
                <a:lnTo>
                  <a:pt x="936" y="3222"/>
                </a:lnTo>
                <a:lnTo>
                  <a:pt x="936" y="3210"/>
                </a:lnTo>
                <a:lnTo>
                  <a:pt x="948" y="3210"/>
                </a:lnTo>
                <a:lnTo>
                  <a:pt x="948" y="3222"/>
                </a:lnTo>
                <a:close/>
                <a:moveTo>
                  <a:pt x="906" y="3186"/>
                </a:moveTo>
                <a:lnTo>
                  <a:pt x="900" y="3198"/>
                </a:lnTo>
                <a:lnTo>
                  <a:pt x="882" y="3186"/>
                </a:lnTo>
                <a:lnTo>
                  <a:pt x="876" y="3162"/>
                </a:lnTo>
                <a:lnTo>
                  <a:pt x="888" y="3168"/>
                </a:lnTo>
                <a:lnTo>
                  <a:pt x="894" y="3180"/>
                </a:lnTo>
                <a:lnTo>
                  <a:pt x="906" y="3186"/>
                </a:lnTo>
                <a:close/>
                <a:moveTo>
                  <a:pt x="996" y="2898"/>
                </a:moveTo>
                <a:lnTo>
                  <a:pt x="984" y="2892"/>
                </a:lnTo>
                <a:lnTo>
                  <a:pt x="978" y="2886"/>
                </a:lnTo>
                <a:lnTo>
                  <a:pt x="966" y="2826"/>
                </a:lnTo>
                <a:lnTo>
                  <a:pt x="960" y="2820"/>
                </a:lnTo>
                <a:lnTo>
                  <a:pt x="960" y="2814"/>
                </a:lnTo>
                <a:lnTo>
                  <a:pt x="966" y="2814"/>
                </a:lnTo>
                <a:lnTo>
                  <a:pt x="978" y="2808"/>
                </a:lnTo>
                <a:lnTo>
                  <a:pt x="978" y="2814"/>
                </a:lnTo>
                <a:lnTo>
                  <a:pt x="978" y="2826"/>
                </a:lnTo>
                <a:lnTo>
                  <a:pt x="984" y="2880"/>
                </a:lnTo>
                <a:lnTo>
                  <a:pt x="996" y="2886"/>
                </a:lnTo>
                <a:lnTo>
                  <a:pt x="996" y="2898"/>
                </a:lnTo>
                <a:close/>
                <a:moveTo>
                  <a:pt x="912" y="2310"/>
                </a:moveTo>
                <a:lnTo>
                  <a:pt x="906" y="2304"/>
                </a:lnTo>
                <a:lnTo>
                  <a:pt x="906" y="2298"/>
                </a:lnTo>
                <a:lnTo>
                  <a:pt x="912" y="2304"/>
                </a:lnTo>
                <a:lnTo>
                  <a:pt x="912" y="2310"/>
                </a:lnTo>
                <a:close/>
                <a:moveTo>
                  <a:pt x="810" y="2250"/>
                </a:moveTo>
                <a:lnTo>
                  <a:pt x="798" y="2244"/>
                </a:lnTo>
                <a:lnTo>
                  <a:pt x="816" y="2238"/>
                </a:lnTo>
                <a:lnTo>
                  <a:pt x="810" y="2250"/>
                </a:lnTo>
                <a:close/>
                <a:moveTo>
                  <a:pt x="1176" y="2346"/>
                </a:moveTo>
                <a:lnTo>
                  <a:pt x="1158" y="2340"/>
                </a:lnTo>
                <a:lnTo>
                  <a:pt x="1170" y="2334"/>
                </a:lnTo>
                <a:lnTo>
                  <a:pt x="1182" y="2334"/>
                </a:lnTo>
                <a:lnTo>
                  <a:pt x="1188" y="2334"/>
                </a:lnTo>
                <a:lnTo>
                  <a:pt x="1176" y="2346"/>
                </a:lnTo>
                <a:close/>
                <a:moveTo>
                  <a:pt x="960" y="2232"/>
                </a:moveTo>
                <a:lnTo>
                  <a:pt x="954" y="2226"/>
                </a:lnTo>
                <a:lnTo>
                  <a:pt x="960" y="2220"/>
                </a:lnTo>
                <a:lnTo>
                  <a:pt x="960" y="2232"/>
                </a:lnTo>
                <a:close/>
                <a:moveTo>
                  <a:pt x="1218" y="2352"/>
                </a:moveTo>
                <a:lnTo>
                  <a:pt x="1206" y="2346"/>
                </a:lnTo>
                <a:lnTo>
                  <a:pt x="1200" y="2340"/>
                </a:lnTo>
                <a:lnTo>
                  <a:pt x="1200" y="2334"/>
                </a:lnTo>
                <a:lnTo>
                  <a:pt x="1206" y="2340"/>
                </a:lnTo>
                <a:lnTo>
                  <a:pt x="1218" y="2346"/>
                </a:lnTo>
                <a:lnTo>
                  <a:pt x="1218" y="2352"/>
                </a:lnTo>
                <a:close/>
                <a:moveTo>
                  <a:pt x="1284" y="2370"/>
                </a:moveTo>
                <a:lnTo>
                  <a:pt x="1272" y="2370"/>
                </a:lnTo>
                <a:lnTo>
                  <a:pt x="1272" y="2358"/>
                </a:lnTo>
                <a:lnTo>
                  <a:pt x="1278" y="2358"/>
                </a:lnTo>
                <a:lnTo>
                  <a:pt x="1284" y="2370"/>
                </a:lnTo>
                <a:close/>
                <a:moveTo>
                  <a:pt x="1032" y="2238"/>
                </a:moveTo>
                <a:lnTo>
                  <a:pt x="1026" y="2244"/>
                </a:lnTo>
                <a:lnTo>
                  <a:pt x="1020" y="2238"/>
                </a:lnTo>
                <a:lnTo>
                  <a:pt x="1032" y="2226"/>
                </a:lnTo>
                <a:lnTo>
                  <a:pt x="1032" y="2238"/>
                </a:lnTo>
                <a:close/>
                <a:moveTo>
                  <a:pt x="1200" y="2328"/>
                </a:moveTo>
                <a:lnTo>
                  <a:pt x="1194" y="2328"/>
                </a:lnTo>
                <a:lnTo>
                  <a:pt x="1194" y="2316"/>
                </a:lnTo>
                <a:lnTo>
                  <a:pt x="1200" y="2316"/>
                </a:lnTo>
                <a:lnTo>
                  <a:pt x="1218" y="2316"/>
                </a:lnTo>
                <a:lnTo>
                  <a:pt x="1230" y="2316"/>
                </a:lnTo>
                <a:lnTo>
                  <a:pt x="1230" y="2340"/>
                </a:lnTo>
                <a:lnTo>
                  <a:pt x="1200" y="2328"/>
                </a:lnTo>
                <a:close/>
                <a:moveTo>
                  <a:pt x="1200" y="2304"/>
                </a:moveTo>
                <a:lnTo>
                  <a:pt x="1188" y="2298"/>
                </a:lnTo>
                <a:lnTo>
                  <a:pt x="1188" y="2292"/>
                </a:lnTo>
                <a:lnTo>
                  <a:pt x="1200" y="2292"/>
                </a:lnTo>
                <a:lnTo>
                  <a:pt x="1200" y="2298"/>
                </a:lnTo>
                <a:lnTo>
                  <a:pt x="1200" y="2304"/>
                </a:lnTo>
                <a:close/>
                <a:moveTo>
                  <a:pt x="1158" y="2226"/>
                </a:moveTo>
                <a:lnTo>
                  <a:pt x="1152" y="2232"/>
                </a:lnTo>
                <a:lnTo>
                  <a:pt x="1146" y="2226"/>
                </a:lnTo>
                <a:lnTo>
                  <a:pt x="1152" y="2220"/>
                </a:lnTo>
                <a:lnTo>
                  <a:pt x="1158" y="2214"/>
                </a:lnTo>
                <a:lnTo>
                  <a:pt x="1164" y="2220"/>
                </a:lnTo>
                <a:lnTo>
                  <a:pt x="1158" y="2226"/>
                </a:lnTo>
                <a:close/>
                <a:moveTo>
                  <a:pt x="1188" y="2220"/>
                </a:moveTo>
                <a:lnTo>
                  <a:pt x="1176" y="2226"/>
                </a:lnTo>
                <a:lnTo>
                  <a:pt x="1176" y="2220"/>
                </a:lnTo>
                <a:lnTo>
                  <a:pt x="1194" y="2214"/>
                </a:lnTo>
                <a:lnTo>
                  <a:pt x="1194" y="2220"/>
                </a:lnTo>
                <a:lnTo>
                  <a:pt x="1188" y="2220"/>
                </a:lnTo>
                <a:close/>
                <a:moveTo>
                  <a:pt x="1224" y="2220"/>
                </a:moveTo>
                <a:lnTo>
                  <a:pt x="1206" y="2208"/>
                </a:lnTo>
                <a:lnTo>
                  <a:pt x="1212" y="2202"/>
                </a:lnTo>
                <a:lnTo>
                  <a:pt x="1218" y="2208"/>
                </a:lnTo>
                <a:lnTo>
                  <a:pt x="1224" y="2220"/>
                </a:lnTo>
                <a:close/>
                <a:moveTo>
                  <a:pt x="1140" y="2160"/>
                </a:moveTo>
                <a:lnTo>
                  <a:pt x="1122" y="2154"/>
                </a:lnTo>
                <a:lnTo>
                  <a:pt x="1122" y="2148"/>
                </a:lnTo>
                <a:lnTo>
                  <a:pt x="1134" y="2148"/>
                </a:lnTo>
                <a:lnTo>
                  <a:pt x="1140" y="2142"/>
                </a:lnTo>
                <a:lnTo>
                  <a:pt x="1146" y="2148"/>
                </a:lnTo>
                <a:lnTo>
                  <a:pt x="1140" y="2160"/>
                </a:lnTo>
                <a:close/>
                <a:moveTo>
                  <a:pt x="1194" y="2130"/>
                </a:moveTo>
                <a:lnTo>
                  <a:pt x="1182" y="2124"/>
                </a:lnTo>
                <a:lnTo>
                  <a:pt x="1164" y="2130"/>
                </a:lnTo>
                <a:lnTo>
                  <a:pt x="1158" y="2142"/>
                </a:lnTo>
                <a:lnTo>
                  <a:pt x="1152" y="2142"/>
                </a:lnTo>
                <a:lnTo>
                  <a:pt x="1152" y="2136"/>
                </a:lnTo>
                <a:lnTo>
                  <a:pt x="1158" y="2124"/>
                </a:lnTo>
                <a:lnTo>
                  <a:pt x="1176" y="2118"/>
                </a:lnTo>
                <a:lnTo>
                  <a:pt x="1194" y="2118"/>
                </a:lnTo>
                <a:lnTo>
                  <a:pt x="1194" y="2130"/>
                </a:lnTo>
                <a:close/>
                <a:moveTo>
                  <a:pt x="1266" y="2160"/>
                </a:moveTo>
                <a:lnTo>
                  <a:pt x="1260" y="2160"/>
                </a:lnTo>
                <a:lnTo>
                  <a:pt x="1254" y="2154"/>
                </a:lnTo>
                <a:lnTo>
                  <a:pt x="1260" y="2148"/>
                </a:lnTo>
                <a:lnTo>
                  <a:pt x="1272" y="2148"/>
                </a:lnTo>
                <a:lnTo>
                  <a:pt x="1266" y="2160"/>
                </a:lnTo>
                <a:close/>
                <a:moveTo>
                  <a:pt x="1218" y="2124"/>
                </a:moveTo>
                <a:lnTo>
                  <a:pt x="1206" y="2118"/>
                </a:lnTo>
                <a:lnTo>
                  <a:pt x="1212" y="2118"/>
                </a:lnTo>
                <a:lnTo>
                  <a:pt x="1218" y="2112"/>
                </a:lnTo>
                <a:lnTo>
                  <a:pt x="1242" y="2112"/>
                </a:lnTo>
                <a:lnTo>
                  <a:pt x="1236" y="2118"/>
                </a:lnTo>
                <a:lnTo>
                  <a:pt x="1218" y="2124"/>
                </a:lnTo>
                <a:close/>
                <a:moveTo>
                  <a:pt x="1368" y="2058"/>
                </a:moveTo>
                <a:lnTo>
                  <a:pt x="1362" y="2052"/>
                </a:lnTo>
                <a:lnTo>
                  <a:pt x="1374" y="2046"/>
                </a:lnTo>
                <a:lnTo>
                  <a:pt x="1374" y="2052"/>
                </a:lnTo>
                <a:lnTo>
                  <a:pt x="1368" y="2058"/>
                </a:lnTo>
                <a:close/>
                <a:moveTo>
                  <a:pt x="1356" y="2028"/>
                </a:moveTo>
                <a:lnTo>
                  <a:pt x="1350" y="2034"/>
                </a:lnTo>
                <a:lnTo>
                  <a:pt x="1344" y="2022"/>
                </a:lnTo>
                <a:lnTo>
                  <a:pt x="1350" y="2022"/>
                </a:lnTo>
                <a:lnTo>
                  <a:pt x="1356" y="2028"/>
                </a:lnTo>
                <a:close/>
                <a:moveTo>
                  <a:pt x="1212" y="1758"/>
                </a:moveTo>
                <a:lnTo>
                  <a:pt x="1194" y="1764"/>
                </a:lnTo>
                <a:lnTo>
                  <a:pt x="1206" y="1752"/>
                </a:lnTo>
                <a:lnTo>
                  <a:pt x="1212" y="1752"/>
                </a:lnTo>
                <a:lnTo>
                  <a:pt x="1212" y="1758"/>
                </a:lnTo>
                <a:close/>
                <a:moveTo>
                  <a:pt x="1158" y="1728"/>
                </a:moveTo>
                <a:lnTo>
                  <a:pt x="1146" y="1728"/>
                </a:lnTo>
                <a:lnTo>
                  <a:pt x="1140" y="1716"/>
                </a:lnTo>
                <a:lnTo>
                  <a:pt x="1158" y="1722"/>
                </a:lnTo>
                <a:lnTo>
                  <a:pt x="1158" y="1728"/>
                </a:lnTo>
                <a:close/>
                <a:moveTo>
                  <a:pt x="1344" y="1782"/>
                </a:moveTo>
                <a:lnTo>
                  <a:pt x="1338" y="1782"/>
                </a:lnTo>
                <a:lnTo>
                  <a:pt x="1344" y="1776"/>
                </a:lnTo>
                <a:lnTo>
                  <a:pt x="1350" y="1776"/>
                </a:lnTo>
                <a:lnTo>
                  <a:pt x="1344" y="1782"/>
                </a:lnTo>
                <a:close/>
                <a:moveTo>
                  <a:pt x="1152" y="1680"/>
                </a:moveTo>
                <a:lnTo>
                  <a:pt x="1140" y="1686"/>
                </a:lnTo>
                <a:lnTo>
                  <a:pt x="1128" y="1674"/>
                </a:lnTo>
                <a:lnTo>
                  <a:pt x="1146" y="1674"/>
                </a:lnTo>
                <a:lnTo>
                  <a:pt x="1152" y="1680"/>
                </a:lnTo>
                <a:close/>
                <a:moveTo>
                  <a:pt x="1338" y="1770"/>
                </a:moveTo>
                <a:lnTo>
                  <a:pt x="1338" y="1764"/>
                </a:lnTo>
                <a:lnTo>
                  <a:pt x="1344" y="1764"/>
                </a:lnTo>
                <a:lnTo>
                  <a:pt x="1338" y="1770"/>
                </a:lnTo>
                <a:close/>
                <a:moveTo>
                  <a:pt x="1092" y="1626"/>
                </a:moveTo>
                <a:lnTo>
                  <a:pt x="1086" y="1626"/>
                </a:lnTo>
                <a:lnTo>
                  <a:pt x="1086" y="1620"/>
                </a:lnTo>
                <a:lnTo>
                  <a:pt x="1092" y="1626"/>
                </a:lnTo>
                <a:close/>
                <a:moveTo>
                  <a:pt x="1140" y="1638"/>
                </a:moveTo>
                <a:lnTo>
                  <a:pt x="1146" y="1644"/>
                </a:lnTo>
                <a:lnTo>
                  <a:pt x="1140" y="1650"/>
                </a:lnTo>
                <a:lnTo>
                  <a:pt x="1140" y="1644"/>
                </a:lnTo>
                <a:lnTo>
                  <a:pt x="1140" y="1638"/>
                </a:lnTo>
                <a:close/>
                <a:moveTo>
                  <a:pt x="1332" y="1728"/>
                </a:moveTo>
                <a:lnTo>
                  <a:pt x="1326" y="1734"/>
                </a:lnTo>
                <a:lnTo>
                  <a:pt x="1326" y="1728"/>
                </a:lnTo>
                <a:lnTo>
                  <a:pt x="1332" y="1728"/>
                </a:lnTo>
                <a:close/>
                <a:moveTo>
                  <a:pt x="1308" y="1722"/>
                </a:moveTo>
                <a:lnTo>
                  <a:pt x="1302" y="1722"/>
                </a:lnTo>
                <a:lnTo>
                  <a:pt x="1308" y="1716"/>
                </a:lnTo>
                <a:lnTo>
                  <a:pt x="1314" y="1716"/>
                </a:lnTo>
                <a:lnTo>
                  <a:pt x="1308" y="1722"/>
                </a:lnTo>
                <a:close/>
                <a:moveTo>
                  <a:pt x="1302" y="1710"/>
                </a:moveTo>
                <a:lnTo>
                  <a:pt x="1290" y="1710"/>
                </a:lnTo>
                <a:lnTo>
                  <a:pt x="1296" y="1704"/>
                </a:lnTo>
                <a:lnTo>
                  <a:pt x="1302" y="1704"/>
                </a:lnTo>
                <a:lnTo>
                  <a:pt x="1302" y="1710"/>
                </a:lnTo>
                <a:close/>
                <a:moveTo>
                  <a:pt x="1668" y="1884"/>
                </a:moveTo>
                <a:lnTo>
                  <a:pt x="1662" y="1884"/>
                </a:lnTo>
                <a:lnTo>
                  <a:pt x="1668" y="1878"/>
                </a:lnTo>
                <a:lnTo>
                  <a:pt x="1668" y="1884"/>
                </a:lnTo>
                <a:close/>
                <a:moveTo>
                  <a:pt x="1284" y="1692"/>
                </a:moveTo>
                <a:lnTo>
                  <a:pt x="1278" y="1692"/>
                </a:lnTo>
                <a:lnTo>
                  <a:pt x="1278" y="1686"/>
                </a:lnTo>
                <a:lnTo>
                  <a:pt x="1278" y="1680"/>
                </a:lnTo>
                <a:lnTo>
                  <a:pt x="1284" y="1686"/>
                </a:lnTo>
                <a:lnTo>
                  <a:pt x="1284" y="1692"/>
                </a:lnTo>
                <a:close/>
                <a:moveTo>
                  <a:pt x="1332" y="1704"/>
                </a:moveTo>
                <a:lnTo>
                  <a:pt x="1326" y="1710"/>
                </a:lnTo>
                <a:lnTo>
                  <a:pt x="1326" y="1704"/>
                </a:lnTo>
                <a:lnTo>
                  <a:pt x="1332" y="1704"/>
                </a:lnTo>
                <a:close/>
                <a:moveTo>
                  <a:pt x="1374" y="1692"/>
                </a:moveTo>
                <a:lnTo>
                  <a:pt x="1362" y="1692"/>
                </a:lnTo>
                <a:lnTo>
                  <a:pt x="1368" y="1686"/>
                </a:lnTo>
                <a:lnTo>
                  <a:pt x="1374" y="1686"/>
                </a:lnTo>
                <a:lnTo>
                  <a:pt x="1374" y="1692"/>
                </a:lnTo>
                <a:close/>
                <a:moveTo>
                  <a:pt x="1416" y="1698"/>
                </a:moveTo>
                <a:lnTo>
                  <a:pt x="1392" y="1698"/>
                </a:lnTo>
                <a:lnTo>
                  <a:pt x="1392" y="1680"/>
                </a:lnTo>
                <a:lnTo>
                  <a:pt x="1422" y="1668"/>
                </a:lnTo>
                <a:lnTo>
                  <a:pt x="1434" y="1674"/>
                </a:lnTo>
                <a:lnTo>
                  <a:pt x="1428" y="1680"/>
                </a:lnTo>
                <a:lnTo>
                  <a:pt x="1434" y="1692"/>
                </a:lnTo>
                <a:lnTo>
                  <a:pt x="1434" y="1698"/>
                </a:lnTo>
                <a:lnTo>
                  <a:pt x="1428" y="1698"/>
                </a:lnTo>
                <a:lnTo>
                  <a:pt x="1416" y="1698"/>
                </a:lnTo>
                <a:close/>
                <a:moveTo>
                  <a:pt x="1518" y="1638"/>
                </a:moveTo>
                <a:lnTo>
                  <a:pt x="1500" y="1644"/>
                </a:lnTo>
                <a:lnTo>
                  <a:pt x="1512" y="1638"/>
                </a:lnTo>
                <a:lnTo>
                  <a:pt x="1518" y="1638"/>
                </a:lnTo>
                <a:close/>
                <a:moveTo>
                  <a:pt x="1500" y="1596"/>
                </a:moveTo>
                <a:lnTo>
                  <a:pt x="1494" y="1596"/>
                </a:lnTo>
                <a:lnTo>
                  <a:pt x="1494" y="1584"/>
                </a:lnTo>
                <a:lnTo>
                  <a:pt x="1506" y="1590"/>
                </a:lnTo>
                <a:lnTo>
                  <a:pt x="1500" y="1596"/>
                </a:lnTo>
                <a:close/>
              </a:path>
            </a:pathLst>
          </a:custGeom>
          <a:gradFill flip="none" rotWithShape="1">
            <a:gsLst>
              <a:gs pos="100000">
                <a:schemeClr val="accent5"/>
              </a:gs>
              <a:gs pos="0">
                <a:schemeClr val="accent5">
                  <a:lumMod val="20000"/>
                  <a:lumOff val="80000"/>
                </a:schemeClr>
              </a:gs>
            </a:gsLst>
            <a:lin ang="2700000" scaled="1"/>
            <a:tileRect/>
          </a:gradFill>
          <a:ln w="9525">
            <a:solidFill>
              <a:schemeClr val="bg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is-IS" sz="1200" dirty="0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87B6EA-287A-4383-9CCA-6E7FDF6599B0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780084" y="2071691"/>
            <a:ext cx="247642" cy="24764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BCEE588-0FD8-4ABF-85CA-86333F6C46EB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780084" y="2526170"/>
            <a:ext cx="247642" cy="24764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82E64F67-5132-4C8E-8202-0FF22B98A4BD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780084" y="2980649"/>
            <a:ext cx="247642" cy="24764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A0C62685-72AB-4A90-AFE9-329B8CAEAE3F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780084" y="3435128"/>
            <a:ext cx="247642" cy="24764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87F18BBB-56BA-4EA2-8BAA-55B759D4F1C8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780084" y="3889607"/>
            <a:ext cx="247642" cy="247642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1891BACF-7776-4F9F-AFEF-BCD1529FED9F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1780084" y="4344086"/>
            <a:ext cx="247642" cy="247642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0F80119-84DA-45A5-8028-E0452CA1B539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780084" y="4798565"/>
            <a:ext cx="247642" cy="24764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160BC8CE-0A72-449F-8A88-0B117D310293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1780084" y="5253041"/>
            <a:ext cx="247642" cy="247642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9D6C5B08-78A2-4761-865B-96ACA21AC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rgbClr val="39488E"/>
                </a:solidFill>
              </a:rPr>
              <a:t>Mikilvægt er að standa vörð um kaupmátt launa, tryggja stöðugleika og stuðla að lægri vöxtum til frambúðar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1833086990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CE46AA3-02EE-4B29-8CB0-119E0C56B5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7414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Slide" r:id="rId18" imgW="359" imgH="358" progId="TCLayout.ActiveDocument.1">
                  <p:embed/>
                </p:oleObj>
              </mc:Choice>
              <mc:Fallback>
                <p:oleObj name="think-cell Slide" r:id="rId18" imgW="359" imgH="35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CE46AA3-02EE-4B29-8CB0-119E0C56B5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F29040DD-5F62-4ED0-8BCF-51ED6FDC71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103CAAF-85F4-4ED7-9DCF-B622520B0E66}"/>
              </a:ext>
            </a:extLst>
          </p:cNvPr>
          <p:cNvCxnSpPr/>
          <p:nvPr/>
        </p:nvCxnSpPr>
        <p:spPr>
          <a:xfrm>
            <a:off x="3828893" y="1925018"/>
            <a:ext cx="0" cy="4128111"/>
          </a:xfrm>
          <a:prstGeom prst="line">
            <a:avLst/>
          </a:prstGeom>
          <a:ln w="3175"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D28B7C9-5DDA-471B-A377-8834F90D7D86}"/>
              </a:ext>
            </a:extLst>
          </p:cNvPr>
          <p:cNvCxnSpPr/>
          <p:nvPr/>
        </p:nvCxnSpPr>
        <p:spPr>
          <a:xfrm>
            <a:off x="6096001" y="1925018"/>
            <a:ext cx="0" cy="4128111"/>
          </a:xfrm>
          <a:prstGeom prst="line">
            <a:avLst/>
          </a:prstGeom>
          <a:ln w="3175"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84CC013B-254B-49F1-8D08-904D4B209D4B}"/>
              </a:ext>
            </a:extLst>
          </p:cNvPr>
          <p:cNvSpPr/>
          <p:nvPr/>
        </p:nvSpPr>
        <p:spPr>
          <a:xfrm>
            <a:off x="1651339" y="1905424"/>
            <a:ext cx="2088000" cy="2520000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pic>
        <p:nvPicPr>
          <p:cNvPr id="54" name="Graphic 53" descr="Man and woman">
            <a:extLst>
              <a:ext uri="{FF2B5EF4-FFF2-40B4-BE49-F238E27FC236}">
                <a16:creationId xmlns:a16="http://schemas.microsoft.com/office/drawing/2014/main" id="{FA8287DF-AAF8-4BEA-BD97-95AD3C2B3C0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245417" y="1295174"/>
            <a:ext cx="899844" cy="8998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5" name="Oval 54">
            <a:extLst>
              <a:ext uri="{FF2B5EF4-FFF2-40B4-BE49-F238E27FC236}">
                <a16:creationId xmlns:a16="http://schemas.microsoft.com/office/drawing/2014/main" id="{BC0B2BCB-892D-4D43-BEBD-5C0D8DA3A436}"/>
              </a:ext>
            </a:extLst>
          </p:cNvPr>
          <p:cNvSpPr/>
          <p:nvPr/>
        </p:nvSpPr>
        <p:spPr>
          <a:xfrm>
            <a:off x="2560339" y="1925018"/>
            <a:ext cx="270000" cy="270000"/>
          </a:xfrm>
          <a:prstGeom prst="ellipse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/>
              <a:t>1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34FEFB4-88D6-40C3-9BD7-AA957868AFC8}"/>
              </a:ext>
            </a:extLst>
          </p:cNvPr>
          <p:cNvSpPr txBox="1"/>
          <p:nvPr/>
        </p:nvSpPr>
        <p:spPr>
          <a:xfrm>
            <a:off x="1795339" y="2752316"/>
            <a:ext cx="1800000" cy="136960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1% lægri vextir auka ráðstöfunartekjurnar um </a:t>
            </a:r>
            <a:r>
              <a:rPr lang="is-IS" sz="1200" b="1" dirty="0">
                <a:solidFill>
                  <a:schemeClr val="accent5"/>
                </a:solidFill>
              </a:rPr>
              <a:t>20 þúsund krónur eða 3,2%.</a:t>
            </a:r>
          </a:p>
          <a:p>
            <a:pPr marL="180000" indent="-18000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Greiðslubyrði minnkar um </a:t>
            </a:r>
            <a:r>
              <a:rPr lang="is-IS" sz="1200" b="1" dirty="0">
                <a:solidFill>
                  <a:schemeClr val="accent5"/>
                </a:solidFill>
              </a:rPr>
              <a:t>9,6 milljónir króna </a:t>
            </a: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á greiðslutíma lánsins.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8DBB723-CA4F-4409-AAA5-2CC55765779C}"/>
              </a:ext>
            </a:extLst>
          </p:cNvPr>
          <p:cNvSpPr txBox="1"/>
          <p:nvPr/>
        </p:nvSpPr>
        <p:spPr>
          <a:xfrm>
            <a:off x="1697139" y="2366150"/>
            <a:ext cx="199640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is-IS" sz="1400" b="1" dirty="0">
                <a:solidFill>
                  <a:schemeClr val="accent5"/>
                </a:solidFill>
              </a:rPr>
              <a:t>Hjón með meðallaun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E06A7A8-174C-42EC-8313-B013DFB8B6D8}"/>
              </a:ext>
            </a:extLst>
          </p:cNvPr>
          <p:cNvSpPr/>
          <p:nvPr/>
        </p:nvSpPr>
        <p:spPr>
          <a:xfrm>
            <a:off x="3918447" y="1905424"/>
            <a:ext cx="2088000" cy="252000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A70BB17-9260-4940-82ED-EE9CDB741E22}"/>
              </a:ext>
            </a:extLst>
          </p:cNvPr>
          <p:cNvSpPr txBox="1"/>
          <p:nvPr/>
        </p:nvSpPr>
        <p:spPr>
          <a:xfrm>
            <a:off x="4062447" y="2752316"/>
            <a:ext cx="1800000" cy="136960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1% lægri vextir auka ráðstöfunartekjurnar um </a:t>
            </a:r>
            <a:r>
              <a:rPr lang="is-IS" sz="1200" b="1" dirty="0">
                <a:solidFill>
                  <a:schemeClr val="accent6"/>
                </a:solidFill>
              </a:rPr>
              <a:t>20 þúsund krónur eða 4,2%.</a:t>
            </a:r>
          </a:p>
          <a:p>
            <a:pPr marL="180000" indent="-180000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Greiðslubyrði minnkar um </a:t>
            </a:r>
            <a:r>
              <a:rPr lang="is-IS" sz="1200" b="1" dirty="0">
                <a:solidFill>
                  <a:schemeClr val="accent6"/>
                </a:solidFill>
              </a:rPr>
              <a:t>9,6 milljónir króna </a:t>
            </a: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á greiðslutíma lánsins.</a:t>
            </a:r>
          </a:p>
        </p:txBody>
      </p:sp>
      <p:pic>
        <p:nvPicPr>
          <p:cNvPr id="62" name="Graphic 61" descr="Man and woman">
            <a:extLst>
              <a:ext uri="{FF2B5EF4-FFF2-40B4-BE49-F238E27FC236}">
                <a16:creationId xmlns:a16="http://schemas.microsoft.com/office/drawing/2014/main" id="{23D7B7A9-7105-4E9D-9004-2B6C04F10C10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512525" y="1295174"/>
            <a:ext cx="899844" cy="8998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F133B29F-3440-4C9F-A890-D219ED6E1E82}"/>
              </a:ext>
            </a:extLst>
          </p:cNvPr>
          <p:cNvSpPr/>
          <p:nvPr/>
        </p:nvSpPr>
        <p:spPr>
          <a:xfrm>
            <a:off x="4827447" y="1925018"/>
            <a:ext cx="270000" cy="270000"/>
          </a:xfrm>
          <a:prstGeom prst="ellipse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/>
              <a:t>2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67415E1-EB77-4A1C-A8AC-BE99F524FC2C}"/>
              </a:ext>
            </a:extLst>
          </p:cNvPr>
          <p:cNvSpPr txBox="1"/>
          <p:nvPr/>
        </p:nvSpPr>
        <p:spPr>
          <a:xfrm>
            <a:off x="3964247" y="2258429"/>
            <a:ext cx="199640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is-IS" sz="1400" b="1" dirty="0">
                <a:solidFill>
                  <a:schemeClr val="accent6"/>
                </a:solidFill>
              </a:rPr>
              <a:t>Hjón með laun við neðri fjórðungsmörk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16C9A8D-F437-4E33-AEB7-DEDCCC15908B}"/>
              </a:ext>
            </a:extLst>
          </p:cNvPr>
          <p:cNvSpPr/>
          <p:nvPr/>
        </p:nvSpPr>
        <p:spPr>
          <a:xfrm>
            <a:off x="6185555" y="1905424"/>
            <a:ext cx="2088000" cy="2520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442783E-49A0-4330-ABB6-38A5DCE0509A}"/>
              </a:ext>
            </a:extLst>
          </p:cNvPr>
          <p:cNvSpPr txBox="1"/>
          <p:nvPr/>
        </p:nvSpPr>
        <p:spPr>
          <a:xfrm>
            <a:off x="6329555" y="2752316"/>
            <a:ext cx="1800000" cy="136960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1% lægri vextir auka ráðstöfunartekjurnar um </a:t>
            </a:r>
            <a:r>
              <a:rPr lang="is-IS" sz="1200" b="1" dirty="0">
                <a:solidFill>
                  <a:schemeClr val="accent2"/>
                </a:solidFill>
              </a:rPr>
              <a:t>13 þúsund krónur eða 4,7%.</a:t>
            </a:r>
          </a:p>
          <a:p>
            <a:pPr marL="180000" indent="-180000"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Greiðslubyrði minnkar um </a:t>
            </a:r>
            <a:r>
              <a:rPr lang="is-IS" sz="1200" b="1" dirty="0">
                <a:solidFill>
                  <a:schemeClr val="accent2"/>
                </a:solidFill>
              </a:rPr>
              <a:t>6,5 milljónir króna </a:t>
            </a: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á greiðslutíma lánsins.</a:t>
            </a:r>
          </a:p>
        </p:txBody>
      </p:sp>
      <p:pic>
        <p:nvPicPr>
          <p:cNvPr id="69" name="Graphic 68" descr="Man">
            <a:extLst>
              <a:ext uri="{FF2B5EF4-FFF2-40B4-BE49-F238E27FC236}">
                <a16:creationId xmlns:a16="http://schemas.microsoft.com/office/drawing/2014/main" id="{F5DAF9BD-B798-4437-81EB-33B775C6630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779633" y="1295174"/>
            <a:ext cx="899844" cy="8998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0" name="Oval 69">
            <a:extLst>
              <a:ext uri="{FF2B5EF4-FFF2-40B4-BE49-F238E27FC236}">
                <a16:creationId xmlns:a16="http://schemas.microsoft.com/office/drawing/2014/main" id="{063C8059-5826-4864-BEFC-A29F66E386A4}"/>
              </a:ext>
            </a:extLst>
          </p:cNvPr>
          <p:cNvSpPr/>
          <p:nvPr/>
        </p:nvSpPr>
        <p:spPr>
          <a:xfrm>
            <a:off x="7094555" y="1925018"/>
            <a:ext cx="270000" cy="270000"/>
          </a:xfrm>
          <a:prstGeom prst="ellipse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/>
              <a:t>3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1A683C48-2409-4A1B-A500-554E432755F1}"/>
              </a:ext>
            </a:extLst>
          </p:cNvPr>
          <p:cNvSpPr txBox="1"/>
          <p:nvPr/>
        </p:nvSpPr>
        <p:spPr>
          <a:xfrm>
            <a:off x="6329555" y="2258429"/>
            <a:ext cx="180000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is-IS" sz="1400" b="1" dirty="0">
                <a:solidFill>
                  <a:schemeClr val="accent2"/>
                </a:solidFill>
              </a:rPr>
              <a:t>Einstaklingur með meðallaun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229773F-C7D3-45F7-B70E-CF7EA693C576}"/>
              </a:ext>
            </a:extLst>
          </p:cNvPr>
          <p:cNvSpPr/>
          <p:nvPr/>
        </p:nvSpPr>
        <p:spPr>
          <a:xfrm>
            <a:off x="8452661" y="1905424"/>
            <a:ext cx="2088000" cy="2520000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6B4A36D-0DD2-486B-9977-9F6E97AE3D91}"/>
              </a:ext>
            </a:extLst>
          </p:cNvPr>
          <p:cNvSpPr txBox="1"/>
          <p:nvPr/>
        </p:nvSpPr>
        <p:spPr>
          <a:xfrm>
            <a:off x="8596661" y="2752316"/>
            <a:ext cx="1800000" cy="136960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1% lægri vextir auka ráðstöfunartekjurnar um </a:t>
            </a:r>
            <a:r>
              <a:rPr lang="is-IS" sz="1200" b="1" dirty="0">
                <a:solidFill>
                  <a:schemeClr val="accent4"/>
                </a:solidFill>
              </a:rPr>
              <a:t>13 þúsund krónur eða 6,2%.</a:t>
            </a:r>
          </a:p>
          <a:p>
            <a:pPr marL="180000" indent="-1800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Greiðslubyrði minnkar um </a:t>
            </a:r>
            <a:r>
              <a:rPr lang="is-IS" sz="1200" b="1" dirty="0">
                <a:solidFill>
                  <a:schemeClr val="accent4"/>
                </a:solidFill>
              </a:rPr>
              <a:t>6,5 milljónir króna </a:t>
            </a: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á greiðslutíma lánsins.</a:t>
            </a:r>
          </a:p>
        </p:txBody>
      </p:sp>
      <p:pic>
        <p:nvPicPr>
          <p:cNvPr id="76" name="Graphic 75" descr="Man">
            <a:extLst>
              <a:ext uri="{FF2B5EF4-FFF2-40B4-BE49-F238E27FC236}">
                <a16:creationId xmlns:a16="http://schemas.microsoft.com/office/drawing/2014/main" id="{36B5DE47-F736-4392-AEB7-403801E62A6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046739" y="1295174"/>
            <a:ext cx="899844" cy="8998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7" name="Oval 76">
            <a:extLst>
              <a:ext uri="{FF2B5EF4-FFF2-40B4-BE49-F238E27FC236}">
                <a16:creationId xmlns:a16="http://schemas.microsoft.com/office/drawing/2014/main" id="{A850EDB7-A7D1-47B1-8914-202BBAFCD6C2}"/>
              </a:ext>
            </a:extLst>
          </p:cNvPr>
          <p:cNvSpPr/>
          <p:nvPr/>
        </p:nvSpPr>
        <p:spPr>
          <a:xfrm>
            <a:off x="9361661" y="1925018"/>
            <a:ext cx="270000" cy="270000"/>
          </a:xfrm>
          <a:prstGeom prst="ellipse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b="1" dirty="0"/>
              <a:t>4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E51305C-BABF-4BE9-A7CE-4D0C45BDC093}"/>
              </a:ext>
            </a:extLst>
          </p:cNvPr>
          <p:cNvSpPr txBox="1"/>
          <p:nvPr/>
        </p:nvSpPr>
        <p:spPr>
          <a:xfrm>
            <a:off x="8596661" y="2258429"/>
            <a:ext cx="180000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is-IS" sz="1400" b="1" dirty="0">
                <a:solidFill>
                  <a:schemeClr val="accent4"/>
                </a:solidFill>
              </a:rPr>
              <a:t>Einstaklingur með laun við neðri fjórðungsmörk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45DC0D56-97F5-4537-8DCB-F5C9A369B925}"/>
              </a:ext>
            </a:extLst>
          </p:cNvPr>
          <p:cNvCxnSpPr/>
          <p:nvPr/>
        </p:nvCxnSpPr>
        <p:spPr>
          <a:xfrm>
            <a:off x="8363109" y="1925018"/>
            <a:ext cx="0" cy="4128111"/>
          </a:xfrm>
          <a:prstGeom prst="line">
            <a:avLst/>
          </a:prstGeom>
          <a:ln w="3175"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7DBAF73E-C0AE-4D48-B862-0AECD1A3A00B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37978723"/>
              </p:ext>
            </p:extLst>
          </p:nvPr>
        </p:nvGraphicFramePr>
        <p:xfrm>
          <a:off x="1590675" y="4543425"/>
          <a:ext cx="2208213" cy="1235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2F2648FC-1376-496D-B9C5-62EA88A731C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522538" y="5334000"/>
            <a:ext cx="3444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301434-2525-4456-B4F8-19543FD8D859}" type="datetime'''3'''''''''''',''''''''''''''''''''''2''''%'''">
              <a:rPr lang="is-IS" altLang="en-US" sz="1200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2%</a:t>
            </a:fld>
            <a:endParaRPr lang="is-IS" sz="1200" dirty="0">
              <a:solidFill>
                <a:schemeClr val="bg1"/>
              </a:solidFill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72670377-3E62-4F94-B30B-02F208E693B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51051" y="5746750"/>
            <a:ext cx="12874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16228E-71F0-46BF-96CC-FF9F7305F6DB}" type="datetime'H''''''j''ó''''''n ''''''m''''''e''ð ''''með''''a''''llaun'">
              <a:rPr lang="is-IS" altLang="en-US" sz="1200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jón með meðallaun</a:t>
            </a:fld>
            <a:endParaRPr lang="is-IS" sz="1200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739E3D46-110F-4DA6-9387-C91747765BDD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75739245"/>
              </p:ext>
            </p:extLst>
          </p:nvPr>
        </p:nvGraphicFramePr>
        <p:xfrm>
          <a:off x="3857625" y="4543425"/>
          <a:ext cx="2208213" cy="1235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86F035FA-7484-4CDA-BB9C-DF7F47FF6C3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789488" y="5248275"/>
            <a:ext cx="3444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50B942-B116-4D16-95EB-02279F6F439A}" type="datetime'''''''''''''''4'''',''''''''''''''''''''''''''''''''2''''''%'">
              <a:rPr lang="is-IS" altLang="en-US" sz="1200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2%</a:t>
            </a:fld>
            <a:endParaRPr lang="is-IS" sz="1200" dirty="0">
              <a:solidFill>
                <a:schemeClr val="bg1"/>
              </a:solidFill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888666B8-EF88-42FF-83F5-BDF8E4619C0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327525" y="5746750"/>
            <a:ext cx="12668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62E360-4ADC-4819-9A3F-38CA766ECFB9}" type="datetime'Hjón m''eð'' ''''laun við neð''ri ''''fjórðungs''''mö''rk'">
              <a:rPr lang="is-IS" altLang="en-US" sz="1200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jón með laun við neðri fjórðungsmörk</a:t>
            </a:fld>
            <a:endParaRPr lang="is-IS" sz="1200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79867D80-008B-4148-AE39-63ED7C89CDFA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324692189"/>
              </p:ext>
            </p:extLst>
          </p:nvPr>
        </p:nvGraphicFramePr>
        <p:xfrm>
          <a:off x="6124575" y="4543425"/>
          <a:ext cx="2208213" cy="1235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2D6C9EA6-8227-47AA-AD05-578C3A48A45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056438" y="5205413"/>
            <a:ext cx="3444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8D22D2-2560-4802-94B7-B0BA2381E261}" type="datetime'''''''''''''''''''''''''''''''''4'''''',''''''''''''''7''%'">
              <a:rPr lang="is-IS" altLang="en-US" sz="1200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7%</a:t>
            </a:fld>
            <a:endParaRPr lang="is-IS" sz="1200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3123C269-44A5-43F3-95C2-05E5A65A06B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338887" y="5746750"/>
            <a:ext cx="17795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28EC34-A2DF-4A3B-99B2-84C6A2285A59}" type="datetime'E''''''i''n''''st''aklingu''''''''r me''ð meða''''ll''a''un'''">
              <a:rPr lang="is-IS" altLang="en-US" sz="1200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instaklingur með meðallaun</a:t>
            </a:fld>
            <a:endParaRPr lang="is-IS" sz="1200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876F7986-966F-41B4-A668-DDE3BD95ED15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6480708"/>
              </p:ext>
            </p:extLst>
          </p:nvPr>
        </p:nvGraphicFramePr>
        <p:xfrm>
          <a:off x="8393113" y="4543425"/>
          <a:ext cx="2208212" cy="1235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5B05E258-94CD-4588-818A-6E8010862B0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9324975" y="5078413"/>
            <a:ext cx="3444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D0726A-9C19-4B9B-B45C-852ED911F5B1}" type="datetime'''''''''''''''''''''''''6'''',2''''%'">
              <a:rPr lang="is-IS" altLang="en-US" sz="1200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2%</a:t>
            </a:fld>
            <a:endParaRPr lang="is-IS" sz="1200" dirty="0">
              <a:solidFill>
                <a:schemeClr val="bg1"/>
              </a:solidFill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C60EFECA-E762-42F1-8514-A36BE07C128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756650" y="5746750"/>
            <a:ext cx="148113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238314-4303-4C7A-B14A-CFD5D68008B7}" type="datetime'Eint''ak''lingur ''m''''''eð laun við neðri ''fjórð''ungsmörk'">
              <a:rPr lang="is-IS" altLang="en-US" sz="1200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intaklingur með laun við neðri fjórðungsmörk</a:t>
            </a:fld>
            <a:endParaRPr lang="is-IS" sz="1200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1ACECB-FC04-4385-B2BB-B7ECD34A6D15}"/>
              </a:ext>
            </a:extLst>
          </p:cNvPr>
          <p:cNvSpPr txBox="1"/>
          <p:nvPr/>
        </p:nvSpPr>
        <p:spPr>
          <a:xfrm>
            <a:off x="1645554" y="4569381"/>
            <a:ext cx="1673087" cy="36933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1200" b="1" dirty="0">
                <a:solidFill>
                  <a:schemeClr val="accent3"/>
                </a:solidFill>
              </a:rPr>
              <a:t>Aukning ráðstöfunartekna</a:t>
            </a:r>
          </a:p>
          <a:p>
            <a:pPr algn="just"/>
            <a:r>
              <a:rPr lang="is-IS" sz="1200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481BA069-A7C4-44E4-B536-DF70BACF35E3}"/>
              </a:ext>
            </a:extLst>
          </p:cNvPr>
          <p:cNvSpPr txBox="1"/>
          <p:nvPr/>
        </p:nvSpPr>
        <p:spPr>
          <a:xfrm>
            <a:off x="1652435" y="6290559"/>
            <a:ext cx="5883885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is-IS" sz="1000" dirty="0">
                <a:latin typeface="Calibri Light" panose="020F0302020204030204" pitchFamily="34" charset="0"/>
                <a:cs typeface="Calibri Light" panose="020F0302020204030204" pitchFamily="34" charset="0"/>
              </a:rPr>
              <a:t>Laun miðast við heildarlaun verkafólks 2017 skv. Hagstofu Íslands að viðbættri almennri hækkun 2018</a:t>
            </a:r>
          </a:p>
          <a:p>
            <a:pPr algn="just"/>
            <a:r>
              <a:rPr lang="is-IS" sz="1000" dirty="0">
                <a:latin typeface="Calibri Light" panose="020F0302020204030204" pitchFamily="34" charset="0"/>
                <a:cs typeface="Calibri Light" panose="020F0302020204030204" pitchFamily="34" charset="0"/>
              </a:rPr>
              <a:t>Dæmi eru tekin af 20 m.kr. láni einstaklings og 30 m.kr. láni hjóna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048FDAE-ABE6-4790-A14A-F967A78EA7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rgbClr val="39488E"/>
                </a:solidFill>
              </a:rPr>
              <a:t>Sýnidæmi: </a:t>
            </a:r>
            <a:r>
              <a:rPr lang="is-IS" dirty="0">
                <a:solidFill>
                  <a:srgbClr val="000000"/>
                </a:solidFill>
              </a:rPr>
              <a:t>Möguleg áhrif 1% vaxtalækkunar á ráðstöfunartekjur lág- og meðaltekjufólks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66156354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177861-D644-4235-AB6A-A9E27E38D5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1834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think-cell Slide" r:id="rId40" imgW="360" imgH="360" progId="TCLayout.ActiveDocument.1">
                  <p:embed/>
                </p:oleObj>
              </mc:Choice>
              <mc:Fallback>
                <p:oleObj name="think-cell Slide" r:id="rId40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B177861-D644-4235-AB6A-A9E27E38D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87C16C-A565-4E52-869C-704FC6A3B0B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A46E1D-01F4-45F4-96B4-BEA7ABF8B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Lífskjarasamningurinn er samsett lausn sem byggir á samstarfi verklýðshreyfingar, atvinnurekenda og stjórnvalda</a:t>
            </a:r>
            <a:endParaRPr lang="is-IS" dirty="0">
              <a:solidFill>
                <a:schemeClr val="tx2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1173A8A-D927-4882-87B5-F5E3EBD53DDC}"/>
              </a:ext>
            </a:extLst>
          </p:cNvPr>
          <p:cNvSpPr txBox="1"/>
          <p:nvPr/>
        </p:nvSpPr>
        <p:spPr>
          <a:xfrm>
            <a:off x="2190750" y="1276350"/>
            <a:ext cx="7740650" cy="40011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</a:pPr>
            <a:r>
              <a:rPr lang="is-IS" sz="1400" b="1" dirty="0">
                <a:solidFill>
                  <a:schemeClr val="accent3"/>
                </a:solidFill>
              </a:rPr>
              <a:t>Dæmi: Heildaráhrif á kjör verkafólks</a:t>
            </a:r>
          </a:p>
          <a:p>
            <a:pPr>
              <a:buClr>
                <a:schemeClr val="accent6"/>
              </a:buClr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Launaflokkur 4 - Almennt verkafólk</a:t>
            </a:r>
            <a:r>
              <a:rPr lang="is-IS" sz="1200" baseline="30000" dirty="0"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CB3D461D-32CF-4471-B73B-D89B74448112}"/>
              </a:ext>
            </a:extLst>
          </p:cNvPr>
          <p:cNvCxnSpPr>
            <a:cxnSpLocks/>
          </p:cNvCxnSpPr>
          <p:nvPr/>
        </p:nvCxnSpPr>
        <p:spPr>
          <a:xfrm>
            <a:off x="2190750" y="1695450"/>
            <a:ext cx="7740650" cy="0"/>
          </a:xfrm>
          <a:prstGeom prst="line">
            <a:avLst/>
          </a:prstGeom>
          <a:ln w="3175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0E5A710-457A-4BEC-877D-0D4C9627731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194050" y="5232400"/>
            <a:ext cx="5715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208676E-8582-4C37-B646-9411E1555CE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481513" y="4337050"/>
            <a:ext cx="5715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769A9FC-8B5E-497A-86E5-55D89CB1D66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058025" y="2882900"/>
            <a:ext cx="5715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D727003-5D48-4469-86BB-05F0DA7DD31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770563" y="3497263"/>
            <a:ext cx="5715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72CFBFE-4C94-405A-8B41-78A1D2645CB8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347075" y="2247900"/>
            <a:ext cx="5715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0FD293E2-48E4-471C-B035-5E79FF811EB8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75675241"/>
              </p:ext>
            </p:extLst>
          </p:nvPr>
        </p:nvGraphicFramePr>
        <p:xfrm>
          <a:off x="2108200" y="2165350"/>
          <a:ext cx="7894638" cy="347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 useBgFill="1">
        <p:nvSpPr>
          <p:cNvPr id="7" name="Freeform: Shape 6">
            <a:extLst>
              <a:ext uri="{FF2B5EF4-FFF2-40B4-BE49-F238E27FC236}">
                <a16:creationId xmlns:a16="http://schemas.microsoft.com/office/drawing/2014/main" id="{613F16EE-0669-41F7-BA14-98EA24CFC9A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422525" y="5257800"/>
            <a:ext cx="825501" cy="279401"/>
          </a:xfrm>
          <a:custGeom>
            <a:avLst/>
            <a:gdLst/>
            <a:ahLst/>
            <a:cxnLst/>
            <a:rect l="0" t="0" r="0" b="0"/>
            <a:pathLst>
              <a:path w="825501" h="279401">
                <a:moveTo>
                  <a:pt x="0" y="222250"/>
                </a:moveTo>
                <a:lnTo>
                  <a:pt x="825500" y="0"/>
                </a:lnTo>
                <a:lnTo>
                  <a:pt x="825500" y="57150"/>
                </a:lnTo>
                <a:lnTo>
                  <a:pt x="0" y="2794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 useBgFill="1">
        <p:nvSpPr>
          <p:cNvPr id="10" name="Freeform: Shape 9">
            <a:extLst>
              <a:ext uri="{FF2B5EF4-FFF2-40B4-BE49-F238E27FC236}">
                <a16:creationId xmlns:a16="http://schemas.microsoft.com/office/drawing/2014/main" id="{E9199F72-1DD9-4C83-9C7D-A79442D3E36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864600" y="5257800"/>
            <a:ext cx="823914" cy="279401"/>
          </a:xfrm>
          <a:custGeom>
            <a:avLst/>
            <a:gdLst/>
            <a:ahLst/>
            <a:cxnLst/>
            <a:rect l="0" t="0" r="0" b="0"/>
            <a:pathLst>
              <a:path w="823914" h="279401">
                <a:moveTo>
                  <a:pt x="0" y="222250"/>
                </a:moveTo>
                <a:lnTo>
                  <a:pt x="823913" y="0"/>
                </a:lnTo>
                <a:lnTo>
                  <a:pt x="823913" y="57150"/>
                </a:lnTo>
                <a:lnTo>
                  <a:pt x="0" y="2794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E51D6CB-0E80-4AE4-8D48-A20B8CA980BE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2422525" y="5257800"/>
            <a:ext cx="825501" cy="222251"/>
          </a:xfrm>
          <a:custGeom>
            <a:avLst/>
            <a:gdLst/>
            <a:ahLst/>
            <a:cxnLst/>
            <a:rect l="0" t="0" r="0" b="0"/>
            <a:pathLst>
              <a:path w="825501" h="222251">
                <a:moveTo>
                  <a:pt x="0" y="222250"/>
                </a:moveTo>
                <a:lnTo>
                  <a:pt x="8255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A9C09193-EF85-4759-8E8E-05591A895091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422525" y="5314950"/>
            <a:ext cx="825501" cy="222251"/>
          </a:xfrm>
          <a:custGeom>
            <a:avLst/>
            <a:gdLst/>
            <a:ahLst/>
            <a:cxnLst/>
            <a:rect l="0" t="0" r="0" b="0"/>
            <a:pathLst>
              <a:path w="825501" h="222251">
                <a:moveTo>
                  <a:pt x="0" y="222250"/>
                </a:moveTo>
                <a:lnTo>
                  <a:pt x="8255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E9B55E6-F6AB-4581-BD89-FA4B35925CB4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864600" y="5257800"/>
            <a:ext cx="823914" cy="222251"/>
          </a:xfrm>
          <a:custGeom>
            <a:avLst/>
            <a:gdLst/>
            <a:ahLst/>
            <a:cxnLst/>
            <a:rect l="0" t="0" r="0" b="0"/>
            <a:pathLst>
              <a:path w="823914" h="222251">
                <a:moveTo>
                  <a:pt x="0" y="222250"/>
                </a:moveTo>
                <a:lnTo>
                  <a:pt x="8239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AA5ACD2-CF80-4E22-84A8-4AA77280DC2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864600" y="5314950"/>
            <a:ext cx="823914" cy="222251"/>
          </a:xfrm>
          <a:custGeom>
            <a:avLst/>
            <a:gdLst/>
            <a:ahLst/>
            <a:cxnLst/>
            <a:rect l="0" t="0" r="0" b="0"/>
            <a:pathLst>
              <a:path w="823914" h="222251">
                <a:moveTo>
                  <a:pt x="0" y="222250"/>
                </a:moveTo>
                <a:lnTo>
                  <a:pt x="82391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D06C92D-129C-4FD8-996F-9C34070D4CC2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5694363" y="4056063"/>
            <a:ext cx="98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BFF62C67-0471-4F69-B119-A1B53FBDA44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958263" y="2009776"/>
            <a:ext cx="6365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541A6E-29B1-4B4E-A628-4261628C0C7D}" type="datetime'4''''0''9.''''''''''''1''''''''35''''''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9.135</a:t>
            </a:fld>
            <a:endParaRPr lang="is-IS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445B15D7-65EC-45CD-83F7-A38EFE6BEC6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935413" y="5621339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4646B1-94E1-4E1B-801C-C0ACC965FC36}" type="datetime'''''''2''''''''''''''''''''''''''''''''''01''''''9'''''">
              <a:rPr lang="is-IS" altLang="en-US" smtClean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is-IS" dirty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85043FAE-2F6E-49F8-8F53-9BE352A0B57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647950" y="5621339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4EB07B-1A45-4DBC-9735-B95F57E8AE65}" type="datetime'''''''20''''''''''''18'''''''''''''''''''">
              <a:rPr lang="is-IS" altLang="en-US" smtClean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is-IS" dirty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F2C27945-6AEE-47F6-999B-4E10D6DE8F5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224463" y="5621339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3371BB-2D28-4260-9389-B1CD53821BD4}" type="datetime'''''''20''''''''''''''''''''''''''2''''''''0'''''''">
              <a:rPr lang="is-IS" altLang="en-US" smtClean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is-IS" dirty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A239524F-736A-40CC-90D0-25D3826F58E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427789" y="3335338"/>
            <a:ext cx="544513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DAFBD0-F7F5-46AD-80F1-A849FA2867DD}" type="datetime'+''''''''5.''''''''''''''''''''''''''''''''''''''''''3''00'''">
              <a:rPr lang="is-IS" altLang="en-US" smtClean="0">
                <a:solidFill>
                  <a:schemeClr val="bg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5.300</a:t>
            </a:fld>
            <a:endParaRPr lang="is-IS" dirty="0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F75660D9-E923-4D5C-8819-CF3B561C0DF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511925" y="5621338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C5CBA0-D0F2-445B-A729-8051F20FED32}" type="datetime'''2''''''''0''''''''''''''''''2''''''1'''''''''''''''''''''">
              <a:rPr lang="is-IS" altLang="en-US" smtClean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is-IS" dirty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6C92D3C5-CBF5-486D-BC44-4EF14AAA245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138738" y="3259138"/>
            <a:ext cx="5461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5E9DC6-D67D-4F59-B929-28BC37A11034}" type="datetime'''''''''''40''.''''''''05''''''''''''''''''''''0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.050</a:t>
            </a:fld>
            <a:endParaRPr lang="is-IS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A5E47F4C-CDA5-4E0F-B502-90551E78835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716839" y="2720975"/>
            <a:ext cx="544513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823C9D-2E83-4B58-B799-031D15CAFE14}" type="datetime'''''+5''.3''''''''''''''''''''''''''''''0''''''''0'''''''''">
              <a:rPr lang="is-IS" altLang="en-US" smtClean="0">
                <a:solidFill>
                  <a:schemeClr val="bg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5.300</a:t>
            </a:fld>
            <a:endParaRPr lang="is-IS" dirty="0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D84301D5-7752-4025-B363-2DCD0003520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800975" y="5621338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04B41A-A6F8-47E8-8EAC-25499ADE0B46}" type="datetime'2''''''''0''''''''''22'">
              <a:rPr lang="is-IS" altLang="en-US" smtClean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is-IS" dirty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2CD7E520-5C65-4020-A111-9FAE58153D5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517775" y="4994276"/>
            <a:ext cx="6365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392E94-3922-4C58-A0F0-12DA516744DC}" type="datetime'''''''''''''''''''26''''6''''''.''''735''''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6.735</a:t>
            </a:fld>
            <a:endParaRPr lang="is-IS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9FD0DE40-B393-4311-AAE3-0D5857E2253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993188" y="5621338"/>
            <a:ext cx="565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7FA6FD-D59C-46AF-8914-6DB67AF3C9B3}" type="datetime'''''''''''S''''''''''''''''''''''a''m''''t''''al''s'''''">
              <a:rPr lang="is-IS" altLang="en-US" smtClean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mtals</a:t>
            </a:fld>
            <a:endParaRPr lang="is-IS" dirty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BF26E11D-6044-4A60-AA61-7E455CD87A9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849688" y="4098925"/>
            <a:ext cx="5461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2EAAA0-9359-4E94-BB69-59BA24B60E97}" type="datetime'4''2''.7''''5''0''''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.750</a:t>
            </a:fld>
            <a:endParaRPr lang="is-IS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1BA7B76E-9758-434F-920C-C04AF77F9FB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426200" y="2644775"/>
            <a:ext cx="5461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B65666-95A8-4EF6-94EA-4B9B2EF23519}" type="datetime'''''''''''''''''2''''''''''''''''9''''.3''0''0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.300</a:t>
            </a:fld>
            <a:endParaRPr lang="is-IS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0BDDB82D-3064-4F50-854D-5B0C5C24486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715250" y="2009776"/>
            <a:ext cx="5461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25B0FD-359B-49B5-ABE1-3D8E54389F15}" type="datetime'30.''''''3''''''''0''0''''''''''''''''''''''''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.300</a:t>
            </a:fld>
            <a:endParaRPr lang="is-IS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E746613-13BC-45F3-BA23-67B6DF7F3BD1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2262188" y="3114675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CFEBE8E-8E6C-4F51-88A7-9E77EE92008F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262188" y="2587625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F8D087-721C-40A6-89FF-CF19F7627161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2262188" y="2324100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A7C9DAE-29EB-4A52-B4C0-B79C37AC1194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2262188" y="2851150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D171E95B-0D66-4D73-B851-7ED5F20BC84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563813" y="2319339"/>
            <a:ext cx="7572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01A6494-F625-4FBA-B994-0EF776F26F63}" type="datetime'H''''ær''''''''''r''''''''''''''i'''''''''''' ''''l''aun'">
              <a:rPr lang="is-IS" altLang="en-US" smtClean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ærri laun</a:t>
            </a:fld>
            <a:endParaRPr lang="is-IS" dirty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20F5338F-60B0-4A78-B3DA-3F046C24628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563813" y="2582864"/>
            <a:ext cx="9794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C85512-082F-41C3-A9D3-8CD2E7E2A151}" type="datetime'''''''''Lægr''i ''''''sk''''''''''''''''''''at''''t''''ar'''''">
              <a:rPr lang="is-IS" altLang="en-US" smtClean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ægri skattar</a:t>
            </a:fld>
            <a:r>
              <a:rPr lang="is-IS" altLang="en-US" baseline="30000" dirty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t>2</a:t>
            </a:r>
            <a:endParaRPr lang="is-IS" baseline="30000" dirty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54AF78B5-B58E-4C4B-8E1E-B238B3344DE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563812" y="2846389"/>
            <a:ext cx="1009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AA2A67-292C-415E-BFBA-2D57543E1330}" type="datetime'''''''''''''''L''æg''''''''ri'' ''''''''''ve''x''tir'''''''">
              <a:rPr lang="is-IS" altLang="en-US" smtClean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ægri vextir</a:t>
            </a:fld>
            <a:r>
              <a:rPr lang="is-IS" altLang="en-US" baseline="30000" dirty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t>2, 4</a:t>
            </a:r>
            <a:endParaRPr lang="is-IS" baseline="30000" dirty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D5CF399D-F6F2-450F-B904-67002B404D1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563813" y="3109913"/>
            <a:ext cx="1481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4E19F0-A9C0-4B77-A661-9732C42AB090}" type="datetime'H''''''''''''''æ''''''''rri'' b''''''arnabæ''tu''''r'''''''">
              <a:rPr lang="is-IS" altLang="en-US" smtClean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ærri barnabætur</a:t>
            </a:fld>
            <a:r>
              <a:rPr lang="is-IS" altLang="en-US" baseline="30000" dirty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 Light" panose="020F0302020204030204" pitchFamily="34" charset="0"/>
              </a:rPr>
              <a:t>2, 3</a:t>
            </a:r>
            <a:endParaRPr lang="is-IS" baseline="30000" dirty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71874E7-F1FB-4705-8493-75B1894C99C7}"/>
              </a:ext>
            </a:extLst>
          </p:cNvPr>
          <p:cNvSpPr txBox="1"/>
          <p:nvPr/>
        </p:nvSpPr>
        <p:spPr>
          <a:xfrm>
            <a:off x="2185988" y="5940757"/>
            <a:ext cx="989053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s-IS" sz="1000" b="0" i="0" u="none" strike="noStrike" kern="1200" cap="none" spc="0" normalizeH="0" baseline="3000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r>
              <a:rPr kumimoji="0" lang="is-I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M.v. mánaðarlaun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FCF85BA-0ED6-46B4-9994-E4F1F4EBAB74}"/>
              </a:ext>
            </a:extLst>
          </p:cNvPr>
          <p:cNvSpPr txBox="1"/>
          <p:nvPr/>
        </p:nvSpPr>
        <p:spPr>
          <a:xfrm>
            <a:off x="2185988" y="6087637"/>
            <a:ext cx="1593385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1000" baseline="30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r>
              <a:rPr lang="is-IS" sz="1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Ígildi launahækkana fyrir skatt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59CD3E3-1D50-4C60-9E29-973C51DE792D}"/>
              </a:ext>
            </a:extLst>
          </p:cNvPr>
          <p:cNvSpPr txBox="1"/>
          <p:nvPr/>
        </p:nvSpPr>
        <p:spPr>
          <a:xfrm>
            <a:off x="2185988" y="6234517"/>
            <a:ext cx="357950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000" baseline="30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r>
              <a:rPr lang="is-IS" sz="1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arnabætur m.v. einstætt foreldri með 2 börn, annað yngra en 7 ára</a:t>
            </a:r>
          </a:p>
        </p:txBody>
      </p:sp>
      <p:sp>
        <p:nvSpPr>
          <p:cNvPr id="91" name="Speech Bubble: Rectangle with Corners Rounded 90">
            <a:extLst>
              <a:ext uri="{FF2B5EF4-FFF2-40B4-BE49-F238E27FC236}">
                <a16:creationId xmlns:a16="http://schemas.microsoft.com/office/drawing/2014/main" id="{C4510E5E-164F-435B-BBF2-550C0448BEB5}"/>
              </a:ext>
            </a:extLst>
          </p:cNvPr>
          <p:cNvSpPr/>
          <p:nvPr/>
        </p:nvSpPr>
        <p:spPr>
          <a:xfrm>
            <a:off x="9846135" y="877158"/>
            <a:ext cx="1829928" cy="1158522"/>
          </a:xfrm>
          <a:prstGeom prst="wedgeRoundRectCallout">
            <a:avLst>
              <a:gd name="adj1" fmla="val -72051"/>
              <a:gd name="adj2" fmla="val 44083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70E6649B-17C7-4A34-A6E5-EA35279AE1BD}"/>
              </a:ext>
            </a:extLst>
          </p:cNvPr>
          <p:cNvSpPr/>
          <p:nvPr/>
        </p:nvSpPr>
        <p:spPr>
          <a:xfrm>
            <a:off x="10042526" y="1025532"/>
            <a:ext cx="1437147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Heildarhækkun tekur ekki tillit til hagvaxtartengds launaauka</a:t>
            </a:r>
            <a:endParaRPr lang="is-IS" sz="1400" dirty="0">
              <a:solidFill>
                <a:schemeClr val="accent3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2618B2-113F-4E43-8F7F-6629620C8163}"/>
              </a:ext>
            </a:extLst>
          </p:cNvPr>
          <p:cNvSpPr txBox="1"/>
          <p:nvPr/>
        </p:nvSpPr>
        <p:spPr>
          <a:xfrm>
            <a:off x="2185988" y="6381398"/>
            <a:ext cx="5076711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000" baseline="30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</a:t>
            </a:r>
            <a:r>
              <a:rPr lang="is-IS" sz="1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ægri greiðslubyrði 20 milljóna króna láns á íbúð m.v. lækkun vaxta um 1% á árunum 2019-2020</a:t>
            </a:r>
          </a:p>
        </p:txBody>
      </p:sp>
      <p:sp>
        <p:nvSpPr>
          <p:cNvPr id="72" name="Speech Bubble: Rectangle with Corners Rounded 71">
            <a:extLst>
              <a:ext uri="{FF2B5EF4-FFF2-40B4-BE49-F238E27FC236}">
                <a16:creationId xmlns:a16="http://schemas.microsoft.com/office/drawing/2014/main" id="{AF871532-E5F7-4771-8C06-9B33EAB63BB0}"/>
              </a:ext>
            </a:extLst>
          </p:cNvPr>
          <p:cNvSpPr/>
          <p:nvPr/>
        </p:nvSpPr>
        <p:spPr>
          <a:xfrm>
            <a:off x="1044576" y="3553249"/>
            <a:ext cx="1901825" cy="1210416"/>
          </a:xfrm>
          <a:prstGeom prst="wedgeRoundRectCallout">
            <a:avLst>
              <a:gd name="adj1" fmla="val 89156"/>
              <a:gd name="adj2" fmla="val 16460"/>
              <a:gd name="adj3" fmla="val 16667"/>
            </a:avLst>
          </a:prstGeom>
          <a:solidFill>
            <a:schemeClr val="accent5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2856CAC-3CBD-4A9C-9B60-A9E32F52F779}"/>
              </a:ext>
            </a:extLst>
          </p:cNvPr>
          <p:cNvSpPr/>
          <p:nvPr/>
        </p:nvSpPr>
        <p:spPr>
          <a:xfrm>
            <a:off x="1250950" y="3727570"/>
            <a:ext cx="1489075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+26.000 króna</a:t>
            </a:r>
            <a:b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</a:br>
            <a: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orlofsuppbótarauki</a:t>
            </a:r>
            <a:b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</a:b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sem greiðist til allra</a:t>
            </a:r>
            <a:b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fyrir 2. maí 2019</a:t>
            </a:r>
          </a:p>
        </p:txBody>
      </p:sp>
    </p:spTree>
    <p:extLst>
      <p:ext uri="{BB962C8B-B14F-4D97-AF65-F5344CB8AC3E}">
        <p14:creationId xmlns:p14="http://schemas.microsoft.com/office/powerpoint/2010/main" val="1122224307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778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556772-8C32-42B7-A0EC-6F7789904AA2}"/>
              </a:ext>
            </a:extLst>
          </p:cNvPr>
          <p:cNvSpPr/>
          <p:nvPr/>
        </p:nvSpPr>
        <p:spPr>
          <a:xfrm>
            <a:off x="784860" y="1374543"/>
            <a:ext cx="10622280" cy="4431897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Lífskjarasamningur styður við sterkan viðnámsþrótt íslenska hagkerfisins og skapar skilyrði til áframhaldandi hagvaxtar og lægra vaxtastig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49CBD5-9B28-4911-985F-20DA83F0E56F}"/>
              </a:ext>
            </a:extLst>
          </p:cNvPr>
          <p:cNvSpPr/>
          <p:nvPr/>
        </p:nvSpPr>
        <p:spPr>
          <a:xfrm>
            <a:off x="990600" y="1551472"/>
            <a:ext cx="10210800" cy="40780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4400" indent="-2844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s-IS" sz="1600" b="1" dirty="0">
                <a:solidFill>
                  <a:schemeClr val="accent3"/>
                </a:solidFill>
                <a:latin typeface="+mj-lt"/>
                <a:cs typeface="Calibri Light" panose="020F0302020204030204" pitchFamily="34" charset="0"/>
              </a:rPr>
              <a:t>Hátt sparnaðarhlutfall </a:t>
            </a: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– sparnaður á Ísland er hár í sögulegum og alþjóðlegum samanburði</a:t>
            </a:r>
          </a:p>
          <a:p>
            <a:pPr marL="284400" indent="-2844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s-IS" sz="1600" b="1" dirty="0">
                <a:solidFill>
                  <a:schemeClr val="accent3"/>
                </a:solidFill>
                <a:latin typeface="+mj-lt"/>
                <a:cs typeface="Calibri Light" panose="020F0302020204030204" pitchFamily="34" charset="0"/>
              </a:rPr>
              <a:t>Skuldsetning sögulega lág </a:t>
            </a: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– skuldir heimila, fyrirtækja og hins opinbera hafa verið greiddar niður. Þjóðarbúið er því betur í stakk búið til að takast á við efnahagsáfall.</a:t>
            </a:r>
          </a:p>
          <a:p>
            <a:pPr marL="284400" indent="-2844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s-IS" sz="1600" b="1" dirty="0">
                <a:solidFill>
                  <a:schemeClr val="accent3"/>
                </a:solidFill>
                <a:latin typeface="+mj-lt"/>
                <a:cs typeface="Calibri Light" panose="020F0302020204030204" pitchFamily="34" charset="0"/>
              </a:rPr>
              <a:t>Hrein erlend eignastaða jákvæð </a:t>
            </a: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– erlendar skuldir hafa verið greiddar niður og erlendar eignir vaxið. Íslendingar eru í fyrsta skipti hreinir lánveitendur til útlanda. </a:t>
            </a:r>
          </a:p>
          <a:p>
            <a:pPr marL="284400" indent="-2844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s-IS" sz="1600" b="1" dirty="0">
                <a:solidFill>
                  <a:schemeClr val="accent3"/>
                </a:solidFill>
                <a:latin typeface="+mj-lt"/>
                <a:cs typeface="Calibri Light" panose="020F0302020204030204" pitchFamily="34" charset="0"/>
              </a:rPr>
              <a:t>Jafnvægi í opinberum rekstri </a:t>
            </a: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– afkoma hins opinbera er jákvæð og gert ráð fyrir að svo verði áfram fram til ársins 2024. Ný lög um opinber fjármál tryggja aukna festu í opinberum fjármálum og styrkja stöðu hins opinbera til langs tíma.</a:t>
            </a:r>
          </a:p>
          <a:p>
            <a:pPr marL="284400" indent="-2844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s-IS" sz="1600" b="1" dirty="0">
                <a:solidFill>
                  <a:schemeClr val="accent3"/>
                </a:solidFill>
                <a:latin typeface="+mj-lt"/>
                <a:cs typeface="Calibri Light" panose="020F0302020204030204" pitchFamily="34" charset="0"/>
              </a:rPr>
              <a:t>Rúmur gjaldeyrisvaraforði </a:t>
            </a: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– Seðlabankinn hefur verulegt svigrúm til að bregðast við gengissveiflum. Rúmur gjaldeyrisforði skapar aukið traust á íslensku efnahagslífi og mildar aðlögun þegar efnahagsforsendur breytast.</a:t>
            </a:r>
          </a:p>
          <a:p>
            <a:pPr marL="284400" indent="-2844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s-IS" sz="1600" b="1" dirty="0">
                <a:solidFill>
                  <a:schemeClr val="accent3"/>
                </a:solidFill>
                <a:latin typeface="+mj-lt"/>
                <a:cs typeface="Calibri Light" panose="020F0302020204030204" pitchFamily="34" charset="0"/>
              </a:rPr>
              <a:t>Gjaldeyristekjur á breiðari grunni </a:t>
            </a: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– sem stuðlar að aukinni áhættudreifingu og styrki stöðu Íslands. </a:t>
            </a:r>
          </a:p>
          <a:p>
            <a:pPr marL="284400" indent="-2844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s-IS" sz="1600" b="1" dirty="0">
                <a:solidFill>
                  <a:schemeClr val="accent3"/>
                </a:solidFill>
                <a:latin typeface="+mj-lt"/>
                <a:cs typeface="Calibri Light" panose="020F0302020204030204" pitchFamily="34" charset="0"/>
              </a:rPr>
              <a:t>Aukin hagsæld og lægra vaxtastig </a:t>
            </a:r>
            <a:r>
              <a: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– ábyrg hagstjórn er forsenda efnahagslegs stöðugleika. Samfara skynsamlegum lífskjarasamningi og ábyrgri stjórn ríkisfjármála skapast nú forsendur til lægra vaxtastigs á Íslandi.</a:t>
            </a:r>
            <a:endParaRPr lang="is-IS" sz="1600" dirty="0">
              <a:solidFill>
                <a:schemeClr val="tx2"/>
              </a:solidFill>
              <a:latin typeface="+mj-lt"/>
              <a:cs typeface="Calibri Light" panose="020F0302020204030204" pitchFamily="34" charset="0"/>
            </a:endParaRPr>
          </a:p>
          <a:p>
            <a:pPr marL="284400" indent="-284400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is-IS" sz="1600" b="1" dirty="0">
                <a:solidFill>
                  <a:schemeClr val="accent3"/>
                </a:solidFill>
                <a:latin typeface="+mj-lt"/>
                <a:cs typeface="Calibri Light" panose="020F0302020204030204" pitchFamily="34" charset="0"/>
              </a:rPr>
              <a:t>Sterkur viðnámsþróttur Íslands skapar skilyrði til bættra lífskjara</a:t>
            </a:r>
            <a:r>
              <a:rPr lang="is-IS" sz="1600" b="1" dirty="0">
                <a:solidFill>
                  <a:schemeClr val="accent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  <a:r>
              <a: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Ef vel tekst til eru allar forsendur til að hér verði áfram hagvöxtur sem bætir lífskjör landsmanna. </a:t>
            </a:r>
            <a:endParaRPr lang="is-I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1239132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B2A74C-78D8-4508-9E7F-16DFBEE96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587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B2A74C-78D8-4508-9E7F-16DFBEE962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EE2FB9C-1D52-4874-B825-716352DDFC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48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7B4C56E-C2F3-4D1D-BA77-40BE0FC1DA2B}"/>
              </a:ext>
            </a:extLst>
          </p:cNvPr>
          <p:cNvSpPr/>
          <p:nvPr/>
        </p:nvSpPr>
        <p:spPr>
          <a:xfrm>
            <a:off x="1" y="1"/>
            <a:ext cx="6879770" cy="689133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70000"/>
                </a:schemeClr>
              </a:gs>
              <a:gs pos="100000">
                <a:srgbClr val="575656"/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4D9519-EC5B-48DB-8D34-7BD8C5C8A0F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891" t="486"/>
          <a:stretch/>
        </p:blipFill>
        <p:spPr>
          <a:xfrm>
            <a:off x="6879770" y="0"/>
            <a:ext cx="5312229" cy="6891338"/>
          </a:xfrm>
          <a:prstGeom prst="rect">
            <a:avLst/>
          </a:prstGeom>
          <a:solidFill>
            <a:schemeClr val="bg1">
              <a:alpha val="70000"/>
            </a:schemeClr>
          </a:solidFill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A2A2450-5DB4-4A02-B1CB-177F27533073}"/>
              </a:ext>
            </a:extLst>
          </p:cNvPr>
          <p:cNvSpPr/>
          <p:nvPr/>
        </p:nvSpPr>
        <p:spPr>
          <a:xfrm>
            <a:off x="0" y="5500689"/>
            <a:ext cx="7443788" cy="199072"/>
          </a:xfrm>
          <a:prstGeom prst="rect">
            <a:avLst/>
          </a:prstGeom>
          <a:solidFill>
            <a:srgbClr val="E306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730165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435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D9FDE19-6FB5-4DDF-80C7-E6CF8A822022}"/>
              </a:ext>
            </a:extLst>
          </p:cNvPr>
          <p:cNvSpPr/>
          <p:nvPr/>
        </p:nvSpPr>
        <p:spPr>
          <a:xfrm>
            <a:off x="901700" y="1007702"/>
            <a:ext cx="10388600" cy="549029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Megininntak: </a:t>
            </a:r>
            <a:r>
              <a:rPr lang="is-IS" dirty="0">
                <a:solidFill>
                  <a:schemeClr val="tx2"/>
                </a:solidFill>
              </a:rPr>
              <a:t>Tryggja kjarabætur lágtekjuhópa og skapa skilyrði fyrir lækkun vaxta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1B2003B-E1A5-4850-ACBD-07D73E4DE75B}"/>
              </a:ext>
            </a:extLst>
          </p:cNvPr>
          <p:cNvGrpSpPr/>
          <p:nvPr/>
        </p:nvGrpSpPr>
        <p:grpSpPr>
          <a:xfrm>
            <a:off x="1159540" y="1268413"/>
            <a:ext cx="9872921" cy="4967253"/>
            <a:chOff x="1081406" y="1268413"/>
            <a:chExt cx="9872921" cy="496725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1A6A073-968B-40E5-99DE-1FB26D3A0CA1}"/>
                </a:ext>
              </a:extLst>
            </p:cNvPr>
            <p:cNvSpPr/>
            <p:nvPr/>
          </p:nvSpPr>
          <p:spPr>
            <a:xfrm>
              <a:off x="1081406" y="1268413"/>
              <a:ext cx="1236922" cy="9000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s-IS">
                <a:solidFill>
                  <a:schemeClr val="bg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7C5C0B7-E523-4FA0-AEAD-1D3C750B3CD0}"/>
                </a:ext>
              </a:extLst>
            </p:cNvPr>
            <p:cNvSpPr txBox="1"/>
            <p:nvPr/>
          </p:nvSpPr>
          <p:spPr>
            <a:xfrm>
              <a:off x="1159513" y="1502970"/>
              <a:ext cx="938014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bg1"/>
                  </a:solidFill>
                </a:rPr>
                <a:t>Kjarabætur</a:t>
              </a:r>
              <a:br>
                <a:rPr lang="is-IS" sz="1400" b="1" dirty="0">
                  <a:solidFill>
                    <a:schemeClr val="bg1"/>
                  </a:solidFill>
                </a:rPr>
              </a:br>
              <a:r>
                <a:rPr lang="is-IS" sz="1400" b="1" dirty="0">
                  <a:solidFill>
                    <a:schemeClr val="bg1"/>
                  </a:solidFill>
                </a:rPr>
                <a:t>til tekjulágra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D77D1CC-ADB5-4B87-B792-6FE685220DE3}"/>
                </a:ext>
              </a:extLst>
            </p:cNvPr>
            <p:cNvSpPr txBox="1"/>
            <p:nvPr/>
          </p:nvSpPr>
          <p:spPr>
            <a:xfrm>
              <a:off x="2451851" y="1364470"/>
              <a:ext cx="8280804" cy="7078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Kjarasamningurinn felur í sér sérstaka áherslu á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kjarabætur til tekjulágs launafólks.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Launahækkanir samningsins eru allar í formi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krónutöluhækkana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á kauptaxta og föst mánaðarlaun fyrir dagvinnu.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Í því felst breið sátt á vinnumarkaði um að launafólk með lágar tekjur hækki hlutfallslega meira í launum en þeir sem hærri laun hafa. 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046EEC8-5D22-4648-8F3F-4ECDDF54439E}"/>
                </a:ext>
              </a:extLst>
            </p:cNvPr>
            <p:cNvSpPr/>
            <p:nvPr/>
          </p:nvSpPr>
          <p:spPr>
            <a:xfrm>
              <a:off x="1081406" y="2261864"/>
              <a:ext cx="1236922" cy="10800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s-IS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84392D0-9BB5-44EA-83F8-9BFE7FDA7173}"/>
                </a:ext>
              </a:extLst>
            </p:cNvPr>
            <p:cNvSpPr txBox="1"/>
            <p:nvPr/>
          </p:nvSpPr>
          <p:spPr>
            <a:xfrm>
              <a:off x="1144861" y="2586421"/>
              <a:ext cx="1099468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is-IS" sz="1400" b="1" dirty="0">
                  <a:solidFill>
                    <a:schemeClr val="bg1"/>
                  </a:solidFill>
                </a:rPr>
                <a:t>Skilyrði til</a:t>
              </a:r>
              <a:br>
                <a:rPr lang="is-IS" sz="1400" b="1" dirty="0">
                  <a:solidFill>
                    <a:schemeClr val="bg1"/>
                  </a:solidFill>
                </a:rPr>
              </a:br>
              <a:r>
                <a:rPr lang="is-IS" sz="1400" b="1" dirty="0">
                  <a:solidFill>
                    <a:schemeClr val="bg1"/>
                  </a:solidFill>
                </a:rPr>
                <a:t>vaxtalækkunar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B921A0B-7B51-4D6B-9560-35DA048E5D2F}"/>
                </a:ext>
              </a:extLst>
            </p:cNvPr>
            <p:cNvSpPr txBox="1"/>
            <p:nvPr/>
          </p:nvSpPr>
          <p:spPr>
            <a:xfrm>
              <a:off x="2451851" y="2355588"/>
              <a:ext cx="8280804" cy="89255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Eitt meginmarkmið kjarasamningsins er að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tuðla að vaxtalækkun 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em gagnast heimilunum og atvinnulífinu einkar vel. 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Að mati samningsaðila skapar samningurinn rými til vaxtalækkunar sem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ykur ráðstöfunartekjur heimila 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með íbúðaskuldir og auðveldar fyrirtækjum að standa undir launahækkunum sem felast í kjarasamningnum.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Þá stuðlar vaxtalækkun að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ækkun húsaleigu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.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5B59903-3798-4FEE-9621-49C16CD2CBB3}"/>
                </a:ext>
              </a:extLst>
            </p:cNvPr>
            <p:cNvSpPr/>
            <p:nvPr/>
          </p:nvSpPr>
          <p:spPr>
            <a:xfrm>
              <a:off x="1081406" y="3435315"/>
              <a:ext cx="1236922" cy="6300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s-IS">
                <a:solidFill>
                  <a:schemeClr val="bg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C58C103-BA9F-43F3-8D1A-894EA9612D2A}"/>
                </a:ext>
              </a:extLst>
            </p:cNvPr>
            <p:cNvSpPr txBox="1"/>
            <p:nvPr/>
          </p:nvSpPr>
          <p:spPr>
            <a:xfrm>
              <a:off x="1144861" y="3534872"/>
              <a:ext cx="1173468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is-IS" sz="1400" b="1" dirty="0" err="1">
                  <a:solidFill>
                    <a:schemeClr val="bg1"/>
                  </a:solidFill>
                </a:rPr>
                <a:t>Samkeppnis</a:t>
              </a:r>
              <a:r>
                <a:rPr lang="is-IS" sz="1400" b="1" dirty="0">
                  <a:solidFill>
                    <a:schemeClr val="bg1"/>
                  </a:solidFill>
                </a:rPr>
                <a:t>-hæft atvinnulíf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255B4A5-7CFA-44B5-A474-732E2245736E}"/>
                </a:ext>
              </a:extLst>
            </p:cNvPr>
            <p:cNvSpPr txBox="1"/>
            <p:nvPr/>
          </p:nvSpPr>
          <p:spPr>
            <a:xfrm>
              <a:off x="2451851" y="3527177"/>
              <a:ext cx="8280804" cy="44627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Ein forsenda góðra kjara launafólks og fullrar atvinnu er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amkeppnishæfni íslensks atvinnulífs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. 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Markmið aðila er að standa vörð um kaupmátt launa og stuðla að lágri verðbólgu og lægri vöxtum til frambúðar. 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F8C5849-27E5-466F-9A7E-2FB6E5606FA5}"/>
                </a:ext>
              </a:extLst>
            </p:cNvPr>
            <p:cNvSpPr/>
            <p:nvPr/>
          </p:nvSpPr>
          <p:spPr>
            <a:xfrm>
              <a:off x="1081406" y="4158766"/>
              <a:ext cx="1236922" cy="8100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s-IS">
                <a:solidFill>
                  <a:schemeClr val="bg1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77A7B22-2D8D-4270-8ADE-2D96A42064B7}"/>
                </a:ext>
              </a:extLst>
            </p:cNvPr>
            <p:cNvSpPr txBox="1"/>
            <p:nvPr/>
          </p:nvSpPr>
          <p:spPr>
            <a:xfrm>
              <a:off x="1144861" y="4456044"/>
              <a:ext cx="1173468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bg1"/>
                  </a:solidFill>
                </a:rPr>
                <a:t>Hagvaxtarauki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810354B-0340-4879-932C-43F5419CF143}"/>
                </a:ext>
              </a:extLst>
            </p:cNvPr>
            <p:cNvSpPr txBox="1"/>
            <p:nvPr/>
          </p:nvSpPr>
          <p:spPr>
            <a:xfrm>
              <a:off x="2451851" y="4248295"/>
              <a:ext cx="8280804" cy="6309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Í samningnum felst bein tenging milli svigrúms atvinnulífsins til launabreytinga og hækkunar launa. </a:t>
              </a:r>
            </a:p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Ákvæði um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aunaauka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vegna framleiðniaukningar tryggir launafólki hlutdeild í ávinningi þegar landsframleiðsla á hvern íbúa eykst umfram tiltekin mörk. 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29B37B-9710-43C7-ACFA-76F7E9952F71}"/>
                </a:ext>
              </a:extLst>
            </p:cNvPr>
            <p:cNvSpPr/>
            <p:nvPr/>
          </p:nvSpPr>
          <p:spPr>
            <a:xfrm>
              <a:off x="1081406" y="5062217"/>
              <a:ext cx="1236922" cy="5400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s-IS">
                <a:solidFill>
                  <a:schemeClr val="bg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279C979-00A1-48BB-85AF-4F18FF073CD5}"/>
                </a:ext>
              </a:extLst>
            </p:cNvPr>
            <p:cNvSpPr txBox="1"/>
            <p:nvPr/>
          </p:nvSpPr>
          <p:spPr>
            <a:xfrm>
              <a:off x="1144861" y="5116774"/>
              <a:ext cx="1173468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bg1"/>
                  </a:solidFill>
                </a:rPr>
                <a:t>Launaþróunar-trygging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267A478-8410-4331-B553-1099E0CF9F94}"/>
                </a:ext>
              </a:extLst>
            </p:cNvPr>
            <p:cNvSpPr txBox="1"/>
            <p:nvPr/>
          </p:nvSpPr>
          <p:spPr>
            <a:xfrm>
              <a:off x="2451851" y="5147551"/>
              <a:ext cx="8280804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amningurinn tryggir einnig að launafólk sem tekur laun samkvæmt umsömdum launatöxtum fylgi almennri launaþróun verði umtalsvert launaskrið á almennum vinnumarkaði. 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CDD1353-E9B6-499C-899C-7C7989D339B9}"/>
                </a:ext>
              </a:extLst>
            </p:cNvPr>
            <p:cNvSpPr/>
            <p:nvPr/>
          </p:nvSpPr>
          <p:spPr>
            <a:xfrm>
              <a:off x="1081406" y="5695666"/>
              <a:ext cx="1236922" cy="5400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is-IS">
                <a:solidFill>
                  <a:schemeClr val="bg1"/>
                </a:solidFill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CB9982A-B238-4ED1-8E71-B81DA8B0B287}"/>
                </a:ext>
              </a:extLst>
            </p:cNvPr>
            <p:cNvSpPr txBox="1"/>
            <p:nvPr/>
          </p:nvSpPr>
          <p:spPr>
            <a:xfrm>
              <a:off x="1144861" y="5750223"/>
              <a:ext cx="1173468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bg1"/>
                  </a:solidFill>
                </a:rPr>
                <a:t>Heilbrigður vinnumarkaður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A8781F1-C20F-4CDA-A86C-87898CF298B4}"/>
                </a:ext>
              </a:extLst>
            </p:cNvPr>
            <p:cNvSpPr txBox="1"/>
            <p:nvPr/>
          </p:nvSpPr>
          <p:spPr>
            <a:xfrm>
              <a:off x="2451851" y="5781000"/>
              <a:ext cx="8280804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4"/>
                </a:buClr>
                <a:buFont typeface="Wingdings" panose="05000000000000000000" pitchFamily="2" charset="2"/>
                <a:buChar char="§"/>
              </a:pP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amningsaðilar vilja </a:t>
              </a:r>
              <a:r>
                <a:rPr lang="is-IS" sz="1200" dirty="0">
                  <a:solidFill>
                    <a:schemeClr val="accent4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treysta í sessi heilbrigðan vinnumarkað </a:t>
              </a:r>
              <a:r>
                <a:rPr lang="is-IS" sz="12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þar sem brot á launafólki líðast ekki með því að lögfestar verði aðgerðir gegn kennitöluflakki og félagslegum undirboðum sem jafnframt tryggi jafna samkeppnisstöðu fyrirtækja.</a:t>
              </a:r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C1BC8F25-712A-436A-BE71-FB563170D78B}"/>
                </a:ext>
              </a:extLst>
            </p:cNvPr>
            <p:cNvCxnSpPr>
              <a:cxnSpLocks/>
            </p:cNvCxnSpPr>
            <p:nvPr/>
          </p:nvCxnSpPr>
          <p:spPr>
            <a:xfrm>
              <a:off x="2451851" y="2215138"/>
              <a:ext cx="8502476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18BAA72-0BA6-4D68-BC71-C9E6A4A957FE}"/>
                </a:ext>
              </a:extLst>
            </p:cNvPr>
            <p:cNvCxnSpPr>
              <a:cxnSpLocks/>
            </p:cNvCxnSpPr>
            <p:nvPr/>
          </p:nvCxnSpPr>
          <p:spPr>
            <a:xfrm>
              <a:off x="2451851" y="3388589"/>
              <a:ext cx="8502476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4AD082F-24A1-4D34-98A2-EF81158417B0}"/>
                </a:ext>
              </a:extLst>
            </p:cNvPr>
            <p:cNvCxnSpPr>
              <a:cxnSpLocks/>
            </p:cNvCxnSpPr>
            <p:nvPr/>
          </p:nvCxnSpPr>
          <p:spPr>
            <a:xfrm>
              <a:off x="2451851" y="4112041"/>
              <a:ext cx="8502476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2F2AD0E-39AD-4D53-8A62-E37B59F05592}"/>
                </a:ext>
              </a:extLst>
            </p:cNvPr>
            <p:cNvCxnSpPr>
              <a:cxnSpLocks/>
            </p:cNvCxnSpPr>
            <p:nvPr/>
          </p:nvCxnSpPr>
          <p:spPr>
            <a:xfrm>
              <a:off x="2451851" y="5015492"/>
              <a:ext cx="8502476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82D9249B-6BED-4E9A-9A55-1C84149596BD}"/>
                </a:ext>
              </a:extLst>
            </p:cNvPr>
            <p:cNvCxnSpPr>
              <a:cxnSpLocks/>
            </p:cNvCxnSpPr>
            <p:nvPr/>
          </p:nvCxnSpPr>
          <p:spPr>
            <a:xfrm>
              <a:off x="2451851" y="5648942"/>
              <a:ext cx="8502476" cy="0"/>
            </a:xfrm>
            <a:prstGeom prst="line">
              <a:avLst/>
            </a:prstGeom>
            <a:ln w="3175">
              <a:solidFill>
                <a:schemeClr val="accent6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95526608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2611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Picture 10" descr="A person wearing a costume&#10;&#10;Description generated with high confidence">
            <a:extLst>
              <a:ext uri="{FF2B5EF4-FFF2-40B4-BE49-F238E27FC236}">
                <a16:creationId xmlns:a16="http://schemas.microsoft.com/office/drawing/2014/main" id="{296956CC-C1E5-4A90-96F5-7EADDC27C5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msett nálgun í fjögurra ára lífskjarasamningi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4481118-4B77-4934-AD01-3257613F3801}"/>
              </a:ext>
            </a:extLst>
          </p:cNvPr>
          <p:cNvSpPr/>
          <p:nvPr/>
        </p:nvSpPr>
        <p:spPr>
          <a:xfrm>
            <a:off x="3679113" y="1268413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Hærri laun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Sérstök áhersla á kjarabætur tekjulágs launafólks 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49AAB0A-0F57-47D4-85A4-5541A0C054D1}"/>
              </a:ext>
            </a:extLst>
          </p:cNvPr>
          <p:cNvSpPr txBox="1"/>
          <p:nvPr/>
        </p:nvSpPr>
        <p:spPr>
          <a:xfrm>
            <a:off x="3840929" y="1315971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A259BB5-62BF-41AC-A34C-13661CFAC990}"/>
              </a:ext>
            </a:extLst>
          </p:cNvPr>
          <p:cNvSpPr/>
          <p:nvPr/>
        </p:nvSpPr>
        <p:spPr>
          <a:xfrm>
            <a:off x="3679113" y="2523804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nn-NO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ukinn sveigjanleiki og meiri frítími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Styttri vinnutími, aukinn frítími og fjölskylduvænni vinnustaður 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DFB252-5970-4F9E-ABB3-9B982C21EE91}"/>
              </a:ext>
            </a:extLst>
          </p:cNvPr>
          <p:cNvSpPr txBox="1"/>
          <p:nvPr/>
        </p:nvSpPr>
        <p:spPr>
          <a:xfrm>
            <a:off x="3840929" y="2571362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3246A88-0FCE-44BF-8763-894D11A9A7F9}"/>
              </a:ext>
            </a:extLst>
          </p:cNvPr>
          <p:cNvSpPr/>
          <p:nvPr/>
        </p:nvSpPr>
        <p:spPr>
          <a:xfrm>
            <a:off x="3679113" y="3779195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Lægri skattar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Aðgerðir stjórnvalda til að létta undir með tekjulágu launafólki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885ED-779F-4D85-A959-2BDD48A7E939}"/>
              </a:ext>
            </a:extLst>
          </p:cNvPr>
          <p:cNvSpPr txBox="1"/>
          <p:nvPr/>
        </p:nvSpPr>
        <p:spPr>
          <a:xfrm>
            <a:off x="3840929" y="3826753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05B9D77-50E3-4017-B3A7-59F40598646E}"/>
              </a:ext>
            </a:extLst>
          </p:cNvPr>
          <p:cNvSpPr/>
          <p:nvPr/>
        </p:nvSpPr>
        <p:spPr>
          <a:xfrm>
            <a:off x="3679113" y="5002029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Lægri vextir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Lífskjarasamningur skapar skilyrði til vaxtalækkunar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FFF8BBF-4E8C-41BD-8AE4-4A9072BE2967}"/>
              </a:ext>
            </a:extLst>
          </p:cNvPr>
          <p:cNvSpPr txBox="1"/>
          <p:nvPr/>
        </p:nvSpPr>
        <p:spPr>
          <a:xfrm>
            <a:off x="3840929" y="5049587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62535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540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16" name="Picture 15" descr="A person wearing a costume&#10;&#10;Description generated with high confidence">
            <a:extLst>
              <a:ext uri="{FF2B5EF4-FFF2-40B4-BE49-F238E27FC236}">
                <a16:creationId xmlns:a16="http://schemas.microsoft.com/office/drawing/2014/main" id="{6E073C0D-E469-4479-BE4D-BF6E5DEE3E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msett nálgun í fjögurra ára lífskjarasamningi</a:t>
            </a:r>
          </a:p>
        </p:txBody>
      </p:sp>
      <p:sp>
        <p:nvSpPr>
          <p:cNvPr id="30" name="Rectangle 29">
            <a:hlinkClick r:id="rId9" action="ppaction://hlinksldjump"/>
            <a:extLst>
              <a:ext uri="{FF2B5EF4-FFF2-40B4-BE49-F238E27FC236}">
                <a16:creationId xmlns:a16="http://schemas.microsoft.com/office/drawing/2014/main" id="{E4481118-4B77-4934-AD01-3257613F3801}"/>
              </a:ext>
            </a:extLst>
          </p:cNvPr>
          <p:cNvSpPr/>
          <p:nvPr/>
        </p:nvSpPr>
        <p:spPr>
          <a:xfrm>
            <a:off x="3679113" y="1268413"/>
            <a:ext cx="4833775" cy="1080000"/>
          </a:xfrm>
          <a:prstGeom prst="rect">
            <a:avLst/>
          </a:prstGeom>
          <a:solidFill>
            <a:srgbClr val="FFFFFF"/>
          </a:solidFill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rgbClr val="00A0E0"/>
                </a:solidFill>
                <a:latin typeface="+mj-lt"/>
                <a:cs typeface="Arial" panose="020B0604020202020204" pitchFamily="34" charset="0"/>
              </a:rPr>
              <a:t>Hærri laun</a:t>
            </a:r>
            <a:br>
              <a:rPr lang="is-IS" sz="2000" b="1" dirty="0">
                <a:solidFill>
                  <a:srgbClr val="00A0E0"/>
                </a:solidFill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rgbClr val="00A0E0"/>
                </a:solidFill>
                <a:latin typeface="+mj-lt"/>
                <a:cs typeface="Arial" panose="020B0604020202020204" pitchFamily="34" charset="0"/>
              </a:rPr>
              <a:t>- Sérstök áhersla á kjarabætur tekjulágs launafólks -</a:t>
            </a:r>
            <a:endParaRPr lang="is-IS" sz="2000" i="1" dirty="0">
              <a:solidFill>
                <a:srgbClr val="00A0E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49AAB0A-0F57-47D4-85A4-5541A0C054D1}"/>
              </a:ext>
            </a:extLst>
          </p:cNvPr>
          <p:cNvSpPr txBox="1"/>
          <p:nvPr/>
        </p:nvSpPr>
        <p:spPr>
          <a:xfrm>
            <a:off x="3840929" y="1315971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rgbClr val="00A0E0"/>
                </a:solidFill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3" name="Rectangle 32">
            <a:hlinkClick r:id="rId10" action="ppaction://hlinksldjump"/>
            <a:extLst>
              <a:ext uri="{FF2B5EF4-FFF2-40B4-BE49-F238E27FC236}">
                <a16:creationId xmlns:a16="http://schemas.microsoft.com/office/drawing/2014/main" id="{9A259BB5-62BF-41AC-A34C-13661CFAC990}"/>
              </a:ext>
            </a:extLst>
          </p:cNvPr>
          <p:cNvSpPr/>
          <p:nvPr/>
        </p:nvSpPr>
        <p:spPr>
          <a:xfrm>
            <a:off x="3679113" y="2523804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nn-NO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Aukinn sveigjanleiki og meiri frítími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Styttri vinnutími, aukinn frítími og fjölskylduvænni vinnustaður 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DFB252-5970-4F9E-ABB3-9B982C21EE91}"/>
              </a:ext>
            </a:extLst>
          </p:cNvPr>
          <p:cNvSpPr txBox="1"/>
          <p:nvPr/>
        </p:nvSpPr>
        <p:spPr>
          <a:xfrm>
            <a:off x="3840929" y="2571362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8" name="Rectangle 37">
            <a:hlinkClick r:id="rId11" action="ppaction://hlinksldjump"/>
            <a:extLst>
              <a:ext uri="{FF2B5EF4-FFF2-40B4-BE49-F238E27FC236}">
                <a16:creationId xmlns:a16="http://schemas.microsoft.com/office/drawing/2014/main" id="{43246A88-0FCE-44BF-8763-894D11A9A7F9}"/>
              </a:ext>
            </a:extLst>
          </p:cNvPr>
          <p:cNvSpPr/>
          <p:nvPr/>
        </p:nvSpPr>
        <p:spPr>
          <a:xfrm>
            <a:off x="3679113" y="3779195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Lægri skattar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Aðgerðir stjórnvalda til að létta undir með tekjulágu launafólki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B885ED-779F-4D85-A959-2BDD48A7E939}"/>
              </a:ext>
            </a:extLst>
          </p:cNvPr>
          <p:cNvSpPr txBox="1"/>
          <p:nvPr/>
        </p:nvSpPr>
        <p:spPr>
          <a:xfrm>
            <a:off x="3840929" y="3826753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05B9D77-50E3-4017-B3A7-59F40598646E}"/>
              </a:ext>
            </a:extLst>
          </p:cNvPr>
          <p:cNvSpPr/>
          <p:nvPr/>
        </p:nvSpPr>
        <p:spPr>
          <a:xfrm>
            <a:off x="3679113" y="5002029"/>
            <a:ext cx="4833775" cy="108000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0" rtlCol="0" anchor="ctr"/>
          <a:lstStyle/>
          <a:p>
            <a: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Lægri vextir</a:t>
            </a:r>
            <a:br>
              <a:rPr lang="is-I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</a:br>
            <a:r>
              <a:rPr lang="is-IS" sz="11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- Lífskjarasamningur skapar skilyrði til vaxtalækkunar-</a:t>
            </a:r>
            <a:endParaRPr lang="is-IS" sz="20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FFF8BBF-4E8C-41BD-8AE4-4A9072BE2967}"/>
              </a:ext>
            </a:extLst>
          </p:cNvPr>
          <p:cNvSpPr txBox="1"/>
          <p:nvPr/>
        </p:nvSpPr>
        <p:spPr>
          <a:xfrm>
            <a:off x="3840929" y="5049587"/>
            <a:ext cx="416781" cy="98488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6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anose="020B0604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013780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DC1FEDD-2651-4067-B2D8-A5CCA9608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211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DC1FEDD-2651-4067-B2D8-A5CCA9608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71465C-0F8C-438A-89F0-D7D2B9F838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7B53A368-DE06-4C71-8BDC-58DCF6E1C67C}"/>
              </a:ext>
            </a:extLst>
          </p:cNvPr>
          <p:cNvSpPr/>
          <p:nvPr/>
        </p:nvSpPr>
        <p:spPr>
          <a:xfrm>
            <a:off x="4532313" y="1981200"/>
            <a:ext cx="904875" cy="1320458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tx1">
                  <a:lumMod val="40000"/>
                  <a:lumOff val="60000"/>
                </a:schemeClr>
              </a:gs>
            </a:gsLst>
            <a:lin ang="5400000" scaled="1"/>
          </a:gradFill>
          <a:ln w="3175">
            <a:gradFill>
              <a:gsLst>
                <a:gs pos="0">
                  <a:schemeClr val="bg1"/>
                </a:gs>
                <a:gs pos="100000">
                  <a:srgbClr val="D6D7D9"/>
                </a:gs>
              </a:gsLst>
              <a:lin ang="5400000" scaled="1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s-IS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CD4C2635-5E6A-4B76-B8B7-D0EA9F71FE11}"/>
              </a:ext>
            </a:extLst>
          </p:cNvPr>
          <p:cNvSpPr/>
          <p:nvPr/>
        </p:nvSpPr>
        <p:spPr>
          <a:xfrm>
            <a:off x="5795963" y="1981200"/>
            <a:ext cx="904875" cy="1524731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tx1">
                  <a:lumMod val="40000"/>
                  <a:lumOff val="60000"/>
                </a:schemeClr>
              </a:gs>
            </a:gsLst>
            <a:lin ang="5400000" scaled="1"/>
          </a:gradFill>
          <a:ln w="3175">
            <a:gradFill>
              <a:gsLst>
                <a:gs pos="0">
                  <a:schemeClr val="bg1"/>
                </a:gs>
                <a:gs pos="100000">
                  <a:srgbClr val="D6D7D9"/>
                </a:gs>
              </a:gsLst>
              <a:lin ang="5400000" scaled="1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s-IS"/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567AE44-13E3-4C44-AA68-24401068BC41}"/>
              </a:ext>
            </a:extLst>
          </p:cNvPr>
          <p:cNvSpPr/>
          <p:nvPr/>
        </p:nvSpPr>
        <p:spPr>
          <a:xfrm>
            <a:off x="7065963" y="1981200"/>
            <a:ext cx="904875" cy="146616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tx1">
                  <a:lumMod val="40000"/>
                  <a:lumOff val="60000"/>
                </a:schemeClr>
              </a:gs>
            </a:gsLst>
            <a:lin ang="5400000" scaled="1"/>
          </a:gradFill>
          <a:ln w="3175">
            <a:gradFill>
              <a:gsLst>
                <a:gs pos="0">
                  <a:schemeClr val="bg1"/>
                </a:gs>
                <a:gs pos="100000">
                  <a:srgbClr val="D6D7D9"/>
                </a:gs>
              </a:gsLst>
              <a:lin ang="5400000" scaled="1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s-I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221CA2-254D-448D-B0C3-AE88FFC17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Lífskjarasamningurinn er grundvallaður á krónutöluhækkunum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2E7184C-0CA5-4873-AEC2-587A87F5C6FF}"/>
              </a:ext>
            </a:extLst>
          </p:cNvPr>
          <p:cNvGrpSpPr/>
          <p:nvPr/>
        </p:nvGrpSpPr>
        <p:grpSpPr>
          <a:xfrm>
            <a:off x="3144839" y="1276350"/>
            <a:ext cx="5026025" cy="419100"/>
            <a:chOff x="3216275" y="1276350"/>
            <a:chExt cx="5759450" cy="419100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56BEDEE-993A-414C-A982-FF35C0F8CC5B}"/>
                </a:ext>
              </a:extLst>
            </p:cNvPr>
            <p:cNvSpPr txBox="1"/>
            <p:nvPr/>
          </p:nvSpPr>
          <p:spPr>
            <a:xfrm>
              <a:off x="3216275" y="1276350"/>
              <a:ext cx="575945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</a:pPr>
              <a:r>
                <a:rPr lang="is-IS" sz="1400" b="1" dirty="0">
                  <a:solidFill>
                    <a:schemeClr val="accent3"/>
                  </a:solidFill>
                </a:rPr>
                <a:t>Launahækkanir 2019-2022</a:t>
              </a:r>
            </a:p>
            <a:p>
              <a:pPr>
                <a:buClr>
                  <a:schemeClr val="accent6"/>
                </a:buClr>
              </a:pPr>
              <a:r>
                <a:rPr lang="is-IS" sz="12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Þúsundir króna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8501D34-BAB9-44BF-BD23-D0237E21BAEA}"/>
                </a:ext>
              </a:extLst>
            </p:cNvPr>
            <p:cNvCxnSpPr>
              <a:cxnSpLocks/>
            </p:cNvCxnSpPr>
            <p:nvPr/>
          </p:nvCxnSpPr>
          <p:spPr>
            <a:xfrm>
              <a:off x="3216275" y="1695450"/>
              <a:ext cx="5759450" cy="0"/>
            </a:xfrm>
            <a:prstGeom prst="line">
              <a:avLst/>
            </a:prstGeom>
            <a:ln w="3175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A306E362-73EB-45DC-B9C1-CE29861557C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48657080"/>
              </p:ext>
            </p:extLst>
          </p:nvPr>
        </p:nvGraphicFramePr>
        <p:xfrm>
          <a:off x="3003550" y="2605088"/>
          <a:ext cx="5226050" cy="238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63C0B8D1-98EF-4B80-865B-C790DADF698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510463" y="4033838"/>
            <a:ext cx="4572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FA772B-27FD-4CC4-B897-5F6875528BAF}" type="datetime'''''''''''''''''''''1''''''''''''''''''''''''''''''''7'">
              <a:rPr lang="is-IS" altLang="en-US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r>
              <a:rPr lang="is-IS" altLang="en-US" dirty="0">
                <a:solidFill>
                  <a:schemeClr val="bg1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t>,25</a:t>
            </a:r>
            <a:endParaRPr lang="is-IS" dirty="0">
              <a:solidFill>
                <a:schemeClr val="bg1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7AB687C-23E9-4A52-99E0-E72FE1BC637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927725" y="4965700"/>
            <a:ext cx="641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1. janúar</a:t>
            </a:r>
            <a:b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</a:br>
            <a: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2021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D0F14939-2446-416C-9F3C-ACA91CC421C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67100" y="4965700"/>
            <a:ext cx="50323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is-I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t>1. apríl</a:t>
            </a:r>
            <a:br>
              <a:rPr lang="is-I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</a:br>
            <a:r>
              <a:rPr lang="is-IS" dirty="0">
                <a:latin typeface="Calibri Light" panose="020F0302020204030204" pitchFamily="34" charset="0"/>
                <a:ea typeface="ＭＳ Ｐゴシック" panose="020B0600070205080204" pitchFamily="34" charset="-128"/>
                <a:cs typeface="Calibri Light" panose="020F0302020204030204" pitchFamily="34" charset="0"/>
                <a:sym typeface="Calibri Light" panose="020F0302020204030204" pitchFamily="34" charset="0"/>
              </a:rPr>
              <a:t>2019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71AEAAC-9F0B-4D77-A973-EE72DA92111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732338" y="4965700"/>
            <a:ext cx="50323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1. apríl</a:t>
            </a:r>
            <a:b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</a:br>
            <a: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2020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F9085517-D178-4EA5-A91D-0ABF4600FAB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245225" y="4100513"/>
            <a:ext cx="4572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is-IS" altLang="en-US" dirty="0">
                <a:solidFill>
                  <a:schemeClr val="bg1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t>15,75</a:t>
            </a:r>
            <a:endParaRPr lang="is-IS" dirty="0">
              <a:solidFill>
                <a:schemeClr val="bg1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66CBFBF4-63DC-4B2B-B0D4-AC62F2B8D57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192963" y="4965700"/>
            <a:ext cx="641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1. janúar</a:t>
            </a:r>
            <a:b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</a:br>
            <a:r>
              <a:rPr lang="is-IS" altLang="en-US" dirty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t>2022</a:t>
            </a:r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E6C78A2-1724-429E-915B-CF914EF8D429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205163" y="2122488"/>
            <a:ext cx="214313" cy="160338"/>
          </a:xfrm>
          <a:prstGeom prst="rect">
            <a:avLst/>
          </a:prstGeom>
          <a:solidFill>
            <a:schemeClr val="accent5"/>
          </a:solid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F1556E2-9599-4931-87F5-978527CDFF8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205163" y="1889125"/>
            <a:ext cx="214313" cy="160338"/>
          </a:xfrm>
          <a:prstGeom prst="rect">
            <a:avLst/>
          </a:prstGeom>
          <a:solidFill>
            <a:schemeClr val="accent3"/>
          </a:solidFill>
          <a:ln w="31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EEA970E6-BE43-4787-BB08-7DE3A35F769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470275" y="2117725"/>
            <a:ext cx="9953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395E9F-A785-429E-9A80-08BC5E2E5A0F}" type="datetime'''''''''Al''''''''m''e''nn'' ''h''æk''k''''u''''''''''''n'''">
              <a:rPr lang="is-IS" altLang="en-US" sz="120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menn hækkun</a:t>
            </a:fld>
            <a:endParaRPr lang="is-IS" sz="1200" dirty="0">
              <a:solidFill>
                <a:schemeClr val="tx2"/>
              </a:solidFill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1C955E09-6CB5-4DB9-BB2B-5EE9EFF9CF3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470275" y="1884363"/>
            <a:ext cx="8032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D1A307-0FC2-4620-8EE0-CA4463285FE1}" type="datetime'''Ta''''x''''''''tah''''æ''''''kku''''''''''''''''n'''''''">
              <a:rPr lang="is-IS" altLang="en-US" sz="1200" smtClean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axtahækkun</a:t>
            </a:fld>
            <a:endParaRPr lang="is-IS" sz="1200" dirty="0">
              <a:solidFill>
                <a:schemeClr val="tx2"/>
              </a:solidFill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3EA294-9E53-4D44-BD0B-EEE7F43BAE5E}"/>
              </a:ext>
            </a:extLst>
          </p:cNvPr>
          <p:cNvSpPr/>
          <p:nvPr/>
        </p:nvSpPr>
        <p:spPr>
          <a:xfrm>
            <a:off x="8510588" y="1676460"/>
            <a:ext cx="2700338" cy="391751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s-I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8F356B7-11C4-4E82-A085-38071DB9560D}"/>
              </a:ext>
            </a:extLst>
          </p:cNvPr>
          <p:cNvSpPr/>
          <p:nvPr/>
        </p:nvSpPr>
        <p:spPr>
          <a:xfrm>
            <a:off x="8556625" y="1721936"/>
            <a:ext cx="2609850" cy="38182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s-I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A659780-7744-44DF-B34B-E20282C143C6}"/>
              </a:ext>
            </a:extLst>
          </p:cNvPr>
          <p:cNvSpPr txBox="1"/>
          <p:nvPr/>
        </p:nvSpPr>
        <p:spPr>
          <a:xfrm>
            <a:off x="8828088" y="2364304"/>
            <a:ext cx="48577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&gt; 1,0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E8EA007-DD6B-4341-AA5A-CD914BC02519}"/>
              </a:ext>
            </a:extLst>
          </p:cNvPr>
          <p:cNvSpPr txBox="1"/>
          <p:nvPr/>
        </p:nvSpPr>
        <p:spPr>
          <a:xfrm>
            <a:off x="8828088" y="2691418"/>
            <a:ext cx="48577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&gt; 1,5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40101AA-9DF9-4D48-BC8A-309F62A766CA}"/>
              </a:ext>
            </a:extLst>
          </p:cNvPr>
          <p:cNvSpPr txBox="1"/>
          <p:nvPr/>
        </p:nvSpPr>
        <p:spPr>
          <a:xfrm>
            <a:off x="8828088" y="3018532"/>
            <a:ext cx="48577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&gt; 2,0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7DFDA31-E694-4B0F-BD08-51F71F81FCAD}"/>
              </a:ext>
            </a:extLst>
          </p:cNvPr>
          <p:cNvSpPr txBox="1"/>
          <p:nvPr/>
        </p:nvSpPr>
        <p:spPr>
          <a:xfrm>
            <a:off x="8828088" y="3345646"/>
            <a:ext cx="482600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&gt; 2,5%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FC162E8-CE38-4AF1-9096-EB3AC6588020}"/>
              </a:ext>
            </a:extLst>
          </p:cNvPr>
          <p:cNvSpPr txBox="1"/>
          <p:nvPr/>
        </p:nvSpPr>
        <p:spPr>
          <a:xfrm>
            <a:off x="8828088" y="3672759"/>
            <a:ext cx="48577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&gt; 3,0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15B8932-AF66-40AC-B06B-C7A3F45B3145}"/>
              </a:ext>
            </a:extLst>
          </p:cNvPr>
          <p:cNvSpPr txBox="1"/>
          <p:nvPr/>
        </p:nvSpPr>
        <p:spPr>
          <a:xfrm>
            <a:off x="8828088" y="1853621"/>
            <a:ext cx="766763" cy="430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b="1" dirty="0">
                <a:solidFill>
                  <a:schemeClr val="tx2"/>
                </a:solidFill>
              </a:rPr>
              <a:t>Hagvöxtur</a:t>
            </a:r>
            <a:br>
              <a:rPr lang="is-IS" sz="1400" b="1" dirty="0">
                <a:solidFill>
                  <a:schemeClr val="tx2"/>
                </a:solidFill>
              </a:rPr>
            </a:br>
            <a:r>
              <a:rPr lang="is-IS" sz="1400" b="1" dirty="0">
                <a:solidFill>
                  <a:schemeClr val="tx2"/>
                </a:solidFill>
              </a:rPr>
              <a:t>á mann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7350DF59-9B02-4AA2-A72C-06B79858B239}"/>
              </a:ext>
            </a:extLst>
          </p:cNvPr>
          <p:cNvSpPr/>
          <p:nvPr/>
        </p:nvSpPr>
        <p:spPr>
          <a:xfrm>
            <a:off x="9717088" y="2359025"/>
            <a:ext cx="215900" cy="215366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352D895-A5DD-4CAE-97CC-DD04FEFB978D}"/>
              </a:ext>
            </a:extLst>
          </p:cNvPr>
          <p:cNvSpPr txBox="1"/>
          <p:nvPr/>
        </p:nvSpPr>
        <p:spPr>
          <a:xfrm>
            <a:off x="10340975" y="2364304"/>
            <a:ext cx="704850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3.000 kr.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CDF5E0A-58A6-45D9-B8D8-17966964C418}"/>
              </a:ext>
            </a:extLst>
          </p:cNvPr>
          <p:cNvSpPr txBox="1"/>
          <p:nvPr/>
        </p:nvSpPr>
        <p:spPr>
          <a:xfrm>
            <a:off x="10340247" y="2691418"/>
            <a:ext cx="705578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5.500 kr.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DC5D1AF-69EB-4170-B36E-52DD98D30198}"/>
              </a:ext>
            </a:extLst>
          </p:cNvPr>
          <p:cNvSpPr txBox="1"/>
          <p:nvPr/>
        </p:nvSpPr>
        <p:spPr>
          <a:xfrm>
            <a:off x="10340975" y="3018532"/>
            <a:ext cx="704850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8.000 kr.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3D3C3F7-C0A1-47BF-9EB0-97B532611D75}"/>
              </a:ext>
            </a:extLst>
          </p:cNvPr>
          <p:cNvSpPr txBox="1"/>
          <p:nvPr/>
        </p:nvSpPr>
        <p:spPr>
          <a:xfrm>
            <a:off x="10248876" y="3345646"/>
            <a:ext cx="796949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10.500 kr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8060E90-59EC-46CF-A557-89DCE2F12587}"/>
              </a:ext>
            </a:extLst>
          </p:cNvPr>
          <p:cNvSpPr txBox="1"/>
          <p:nvPr/>
        </p:nvSpPr>
        <p:spPr>
          <a:xfrm>
            <a:off x="10248876" y="3672759"/>
            <a:ext cx="796949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13.000 kr.</a:t>
            </a: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4A7B741E-974D-410C-B83B-4D359ED65738}"/>
              </a:ext>
            </a:extLst>
          </p:cNvPr>
          <p:cNvSpPr/>
          <p:nvPr/>
        </p:nvSpPr>
        <p:spPr>
          <a:xfrm>
            <a:off x="9717088" y="2686977"/>
            <a:ext cx="215900" cy="215366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0" name="Arrow: Right 49">
            <a:extLst>
              <a:ext uri="{FF2B5EF4-FFF2-40B4-BE49-F238E27FC236}">
                <a16:creationId xmlns:a16="http://schemas.microsoft.com/office/drawing/2014/main" id="{59B63EC3-873A-42FF-8E50-35F7186053A8}"/>
              </a:ext>
            </a:extLst>
          </p:cNvPr>
          <p:cNvSpPr/>
          <p:nvPr/>
        </p:nvSpPr>
        <p:spPr>
          <a:xfrm>
            <a:off x="9717088" y="3020827"/>
            <a:ext cx="215900" cy="215366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A75065EE-B7DD-4267-90EC-0A1327C12013}"/>
              </a:ext>
            </a:extLst>
          </p:cNvPr>
          <p:cNvSpPr/>
          <p:nvPr/>
        </p:nvSpPr>
        <p:spPr>
          <a:xfrm>
            <a:off x="9717088" y="3357698"/>
            <a:ext cx="215900" cy="215366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3" name="Arrow: Right 52">
            <a:extLst>
              <a:ext uri="{FF2B5EF4-FFF2-40B4-BE49-F238E27FC236}">
                <a16:creationId xmlns:a16="http://schemas.microsoft.com/office/drawing/2014/main" id="{D02AF076-D62B-49CC-AC5F-1F8A0183F754}"/>
              </a:ext>
            </a:extLst>
          </p:cNvPr>
          <p:cNvSpPr/>
          <p:nvPr/>
        </p:nvSpPr>
        <p:spPr>
          <a:xfrm>
            <a:off x="9717088" y="3691146"/>
            <a:ext cx="215900" cy="215366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2CA0582-5A33-4748-9B03-0B4A27E2E4A5}"/>
              </a:ext>
            </a:extLst>
          </p:cNvPr>
          <p:cNvSpPr txBox="1"/>
          <p:nvPr/>
        </p:nvSpPr>
        <p:spPr>
          <a:xfrm>
            <a:off x="10240964" y="1853621"/>
            <a:ext cx="804863" cy="4308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is-IS" sz="1400" b="1" dirty="0">
                <a:solidFill>
                  <a:schemeClr val="tx2"/>
                </a:solidFill>
              </a:rPr>
              <a:t>Hagvaxtar-</a:t>
            </a:r>
            <a:br>
              <a:rPr lang="is-IS" sz="1400" b="1" dirty="0">
                <a:solidFill>
                  <a:schemeClr val="tx2"/>
                </a:solidFill>
              </a:rPr>
            </a:br>
            <a:r>
              <a:rPr lang="is-IS" sz="1400" b="1" dirty="0">
                <a:solidFill>
                  <a:schemeClr val="tx2"/>
                </a:solidFill>
              </a:rPr>
              <a:t>aukin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871B32-75C5-4638-B0EC-BCFED8C78736}"/>
              </a:ext>
            </a:extLst>
          </p:cNvPr>
          <p:cNvSpPr txBox="1"/>
          <p:nvPr/>
        </p:nvSpPr>
        <p:spPr>
          <a:xfrm>
            <a:off x="8745538" y="4069398"/>
            <a:ext cx="2308225" cy="12926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Hagstofan birtir tölur um hagvöxt á mann í mars ár hvert.</a:t>
            </a:r>
          </a:p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Launahækkanir munu því eiga sér stað í maí.</a:t>
            </a:r>
          </a:p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Árleg samningsbundin launahækkun samanstendur af grunnlaunahækkun og launaauka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8B53055-F078-4D36-B6E9-1A94EDEE0F2D}"/>
              </a:ext>
            </a:extLst>
          </p:cNvPr>
          <p:cNvCxnSpPr/>
          <p:nvPr/>
        </p:nvCxnSpPr>
        <p:spPr>
          <a:xfrm>
            <a:off x="8828088" y="2630684"/>
            <a:ext cx="2171700" cy="0"/>
          </a:xfrm>
          <a:prstGeom prst="line">
            <a:avLst/>
          </a:prstGeom>
          <a:ln w="3175">
            <a:solidFill>
              <a:schemeClr val="tx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1F38EDDB-4BAA-4742-96D1-90F4C65D03C5}"/>
              </a:ext>
            </a:extLst>
          </p:cNvPr>
          <p:cNvCxnSpPr/>
          <p:nvPr/>
        </p:nvCxnSpPr>
        <p:spPr>
          <a:xfrm>
            <a:off x="8828088" y="2961585"/>
            <a:ext cx="2171700" cy="0"/>
          </a:xfrm>
          <a:prstGeom prst="line">
            <a:avLst/>
          </a:prstGeom>
          <a:ln w="3175">
            <a:solidFill>
              <a:schemeClr val="tx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CB52EC63-D7C2-446F-850D-33E760A2C7AF}"/>
              </a:ext>
            </a:extLst>
          </p:cNvPr>
          <p:cNvCxnSpPr/>
          <p:nvPr/>
        </p:nvCxnSpPr>
        <p:spPr>
          <a:xfrm>
            <a:off x="8828088" y="3296946"/>
            <a:ext cx="2171700" cy="0"/>
          </a:xfrm>
          <a:prstGeom prst="line">
            <a:avLst/>
          </a:prstGeom>
          <a:ln w="3175">
            <a:solidFill>
              <a:schemeClr val="tx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DC2BCF98-A2F2-4054-9EBE-FDF5960DD379}"/>
              </a:ext>
            </a:extLst>
          </p:cNvPr>
          <p:cNvCxnSpPr/>
          <p:nvPr/>
        </p:nvCxnSpPr>
        <p:spPr>
          <a:xfrm>
            <a:off x="8828088" y="3632105"/>
            <a:ext cx="2171700" cy="0"/>
          </a:xfrm>
          <a:prstGeom prst="line">
            <a:avLst/>
          </a:prstGeom>
          <a:ln w="3175">
            <a:solidFill>
              <a:schemeClr val="tx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470CA50E-9F2E-4091-8299-53F25BA78DB3}"/>
              </a:ext>
            </a:extLst>
          </p:cNvPr>
          <p:cNvCxnSpPr/>
          <p:nvPr/>
        </p:nvCxnSpPr>
        <p:spPr>
          <a:xfrm>
            <a:off x="8828088" y="2299006"/>
            <a:ext cx="2171700" cy="0"/>
          </a:xfrm>
          <a:prstGeom prst="line">
            <a:avLst/>
          </a:prstGeom>
          <a:ln w="3175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9" name="Speech Bubble: Rectangle with Corners Rounded 108">
            <a:extLst>
              <a:ext uri="{FF2B5EF4-FFF2-40B4-BE49-F238E27FC236}">
                <a16:creationId xmlns:a16="http://schemas.microsoft.com/office/drawing/2014/main" id="{8C5ED272-CF01-4324-B97B-5CB555896E7B}"/>
              </a:ext>
            </a:extLst>
          </p:cNvPr>
          <p:cNvSpPr/>
          <p:nvPr/>
        </p:nvSpPr>
        <p:spPr>
          <a:xfrm>
            <a:off x="7918451" y="491778"/>
            <a:ext cx="3465513" cy="923060"/>
          </a:xfrm>
          <a:prstGeom prst="wedgeRoundRectCallout">
            <a:avLst>
              <a:gd name="adj1" fmla="val 33378"/>
              <a:gd name="adj2" fmla="val 95169"/>
              <a:gd name="adj3" fmla="val 16667"/>
            </a:avLst>
          </a:prstGeom>
          <a:solidFill>
            <a:schemeClr val="bg1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8126A848-0A40-47F0-AD51-2EA83787370B}"/>
              </a:ext>
            </a:extLst>
          </p:cNvPr>
          <p:cNvSpPr/>
          <p:nvPr/>
        </p:nvSpPr>
        <p:spPr>
          <a:xfrm>
            <a:off x="8023226" y="630143"/>
            <a:ext cx="3254375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gvaxtaraukinn tryggir að </a:t>
            </a:r>
            <a: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hlutur launafólks í verðmætasköpuninni helst stöðugur,</a:t>
            </a:r>
            <a:r>
              <a:rPr lang="is-IS" sz="1400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m í dag er sá hæsti meðal ríkja OECD.</a:t>
            </a:r>
            <a:endParaRPr lang="is-IS" sz="1400" b="1" dirty="0">
              <a:solidFill>
                <a:schemeClr val="tx2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45" name="Rectangle: Rounded Corners 144">
            <a:extLst>
              <a:ext uri="{FF2B5EF4-FFF2-40B4-BE49-F238E27FC236}">
                <a16:creationId xmlns:a16="http://schemas.microsoft.com/office/drawing/2014/main" id="{0C8BDC34-FC75-49A6-9A6F-05F3717F32DD}"/>
              </a:ext>
            </a:extLst>
          </p:cNvPr>
          <p:cNvSpPr/>
          <p:nvPr/>
        </p:nvSpPr>
        <p:spPr>
          <a:xfrm>
            <a:off x="8509000" y="5492116"/>
            <a:ext cx="2700338" cy="64101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ADC01AE5-1010-4EDB-B020-A6E6057C0BE1}"/>
              </a:ext>
            </a:extLst>
          </p:cNvPr>
          <p:cNvSpPr/>
          <p:nvPr/>
        </p:nvSpPr>
        <p:spPr>
          <a:xfrm>
            <a:off x="8732044" y="5627955"/>
            <a:ext cx="225425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is-IS" sz="12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gvaxtaraukinn fer að fullu á taxtalaun en 75% í almenna hækkun</a:t>
            </a:r>
            <a:endParaRPr lang="is-IS" sz="1200" b="1" dirty="0">
              <a:solidFill>
                <a:schemeClr val="tx2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E26972A3-E8F3-4327-961F-9F864DEAA033}"/>
              </a:ext>
            </a:extLst>
          </p:cNvPr>
          <p:cNvSpPr txBox="1"/>
          <p:nvPr/>
        </p:nvSpPr>
        <p:spPr>
          <a:xfrm>
            <a:off x="3108325" y="5492116"/>
            <a:ext cx="5016500" cy="6410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accent5"/>
              </a:buClr>
            </a:pPr>
            <a:r>
              <a:rPr lang="is-IS" sz="16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Lágmarkstekjutrygging strax í 317 þúsund kr.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5E9C2A22-678E-42FA-B281-465BB7020E1E}"/>
              </a:ext>
            </a:extLst>
          </p:cNvPr>
          <p:cNvSpPr/>
          <p:nvPr/>
        </p:nvSpPr>
        <p:spPr>
          <a:xfrm>
            <a:off x="3205163" y="2354340"/>
            <a:ext cx="214313" cy="15955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tx1">
                  <a:lumMod val="40000"/>
                  <a:lumOff val="60000"/>
                </a:schemeClr>
              </a:gs>
            </a:gsLst>
            <a:lin ang="5400000" scaled="1"/>
          </a:gradFill>
          <a:ln w="3175">
            <a:gradFill>
              <a:gsLst>
                <a:gs pos="0">
                  <a:schemeClr val="bg1"/>
                </a:gs>
                <a:gs pos="100000">
                  <a:srgbClr val="D6D7D9"/>
                </a:gs>
              </a:gsLst>
              <a:lin ang="5400000" scaled="1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s-I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5412C7-04B2-4045-971C-BEF61EF78CA4}"/>
              </a:ext>
            </a:extLst>
          </p:cNvPr>
          <p:cNvSpPr txBox="1"/>
          <p:nvPr/>
        </p:nvSpPr>
        <p:spPr>
          <a:xfrm>
            <a:off x="3465513" y="2339548"/>
            <a:ext cx="863600" cy="18466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Hagvaxtarauki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5FD79F8-B823-495C-AF6D-38E83E3FDDFE}"/>
              </a:ext>
            </a:extLst>
          </p:cNvPr>
          <p:cNvSpPr/>
          <p:nvPr/>
        </p:nvSpPr>
        <p:spPr>
          <a:xfrm>
            <a:off x="3381375" y="2923446"/>
            <a:ext cx="593726" cy="297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+26</a:t>
            </a:r>
          </a:p>
        </p:txBody>
      </p:sp>
      <p:sp>
        <p:nvSpPr>
          <p:cNvPr id="205" name="Speech Bubble: Rectangle with Corners Rounded 204">
            <a:extLst>
              <a:ext uri="{FF2B5EF4-FFF2-40B4-BE49-F238E27FC236}">
                <a16:creationId xmlns:a16="http://schemas.microsoft.com/office/drawing/2014/main" id="{2355550C-0D14-4D6F-9F29-45F2F52F4E14}"/>
              </a:ext>
            </a:extLst>
          </p:cNvPr>
          <p:cNvSpPr/>
          <p:nvPr/>
        </p:nvSpPr>
        <p:spPr>
          <a:xfrm>
            <a:off x="1044576" y="2049464"/>
            <a:ext cx="1901825" cy="1210416"/>
          </a:xfrm>
          <a:prstGeom prst="wedgeRoundRectCallout">
            <a:avLst>
              <a:gd name="adj1" fmla="val 78471"/>
              <a:gd name="adj2" fmla="val 34010"/>
              <a:gd name="adj3" fmla="val 16667"/>
            </a:avLst>
          </a:prstGeom>
          <a:solidFill>
            <a:schemeClr val="accent5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BDB8380F-F02C-496F-BD4E-D840A0DD6473}"/>
              </a:ext>
            </a:extLst>
          </p:cNvPr>
          <p:cNvSpPr/>
          <p:nvPr/>
        </p:nvSpPr>
        <p:spPr>
          <a:xfrm>
            <a:off x="1250950" y="2223785"/>
            <a:ext cx="1489075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is-IS" sz="1400" b="1" dirty="0">
                <a:solidFill>
                  <a:schemeClr val="accent4"/>
                </a:solidFill>
                <a:latin typeface="+mj-lt"/>
                <a:cs typeface="Calibri Light" panose="020F0302020204030204" pitchFamily="34" charset="0"/>
              </a:rPr>
              <a:t>+26.000 króna</a:t>
            </a:r>
            <a:br>
              <a:rPr lang="is-IS" sz="1400" b="1" dirty="0">
                <a:solidFill>
                  <a:schemeClr val="accent4"/>
                </a:solidFill>
                <a:latin typeface="+mj-lt"/>
                <a:cs typeface="Calibri Light" panose="020F0302020204030204" pitchFamily="34" charset="0"/>
              </a:rPr>
            </a:br>
            <a:r>
              <a:rPr lang="is-IS" sz="1400" b="1" dirty="0">
                <a:solidFill>
                  <a:schemeClr val="accent4"/>
                </a:solidFill>
                <a:latin typeface="+mj-lt"/>
                <a:cs typeface="Calibri Light" panose="020F0302020204030204" pitchFamily="34" charset="0"/>
              </a:rPr>
              <a:t>orlofsuppbótarauki</a:t>
            </a:r>
            <a:br>
              <a:rPr lang="is-IS" sz="1400" b="1" dirty="0">
                <a:solidFill>
                  <a:schemeClr val="tx2"/>
                </a:solidFill>
                <a:latin typeface="+mj-lt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m greiðist til allra</a:t>
            </a:r>
            <a:b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yrir 2. maí 2019</a:t>
            </a:r>
          </a:p>
        </p:txBody>
      </p:sp>
    </p:spTree>
    <p:extLst>
      <p:ext uri="{BB962C8B-B14F-4D97-AF65-F5344CB8AC3E}">
        <p14:creationId xmlns:p14="http://schemas.microsoft.com/office/powerpoint/2010/main" val="3393944348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DC1FEDD-2651-4067-B2D8-A5CCA9608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97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DC1FEDD-2651-4067-B2D8-A5CCA9608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71465C-0F8C-438A-89F0-D7D2B9F838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8375F6E-4411-4006-9935-8DF801FEF824}"/>
              </a:ext>
            </a:extLst>
          </p:cNvPr>
          <p:cNvSpPr/>
          <p:nvPr/>
        </p:nvSpPr>
        <p:spPr>
          <a:xfrm>
            <a:off x="753035" y="1250950"/>
            <a:ext cx="3240000" cy="454183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1CE0FCA-B69B-4981-936F-70FFA20E15D5}"/>
              </a:ext>
            </a:extLst>
          </p:cNvPr>
          <p:cNvSpPr/>
          <p:nvPr/>
        </p:nvSpPr>
        <p:spPr>
          <a:xfrm>
            <a:off x="4476000" y="1250950"/>
            <a:ext cx="3240000" cy="454183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F3AD0D2-A156-40ED-A27C-3E3231285C7B}"/>
              </a:ext>
            </a:extLst>
          </p:cNvPr>
          <p:cNvSpPr/>
          <p:nvPr/>
        </p:nvSpPr>
        <p:spPr>
          <a:xfrm>
            <a:off x="8156575" y="1250950"/>
            <a:ext cx="3240088" cy="454183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221CA2-254D-448D-B0C3-AE88FFC17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Sviðsmyndir lífskjarasamnings:</a:t>
            </a:r>
            <a:r>
              <a:rPr lang="is-IS" dirty="0">
                <a:solidFill>
                  <a:schemeClr val="tx2"/>
                </a:solidFill>
              </a:rPr>
              <a:t> Hagvaxtaraukinn tryggir hlut launþega í verðmætasköpun þjóðarinnar</a:t>
            </a:r>
            <a:endParaRPr lang="is-IS" dirty="0">
              <a:solidFill>
                <a:schemeClr val="accent3"/>
              </a:solidFill>
            </a:endParaRP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62B0739A-4160-480F-B9BB-590BF330396A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17841063"/>
              </p:ext>
            </p:extLst>
          </p:nvPr>
        </p:nvGraphicFramePr>
        <p:xfrm>
          <a:off x="928688" y="2444750"/>
          <a:ext cx="2887662" cy="160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0826429C-BFE4-4FD3-B34A-F50E49855CD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643188" y="2895600"/>
            <a:ext cx="141288" cy="212725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9ABF43-D822-4A3E-A6D6-230D4783CF3B}" type="datetime'''''''''3'''">
              <a:rPr lang="is-IS" altLang="en-US" smtClean="0"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is-IS" dirty="0"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29100C95-C406-4FE3-9F1E-50F2FDEB095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22638" y="2857500"/>
            <a:ext cx="141288" cy="212725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473905-8E84-4753-9699-C950BC91634E}" type="datetime'''''''''''''''''''''3'''''''''''''''''''''''''''''''''''''''">
              <a:rPr lang="is-IS" altLang="en-US" smtClean="0"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is-IS" dirty="0"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71AEAAC-9F0B-4D77-A973-EE72DA92111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844675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3E3C82-0119-4DE7-9F5D-896056E5A483}" type="datetime'''''''''''''2''''''0''''''''''''''''''''''''''2''''0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D0F14939-2446-416C-9F3C-ACA91CC421C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163638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7C9014-A360-409E-B0AE-F5D95E29F5FD}" type="datetime'''''2''''''''''''''''''01''''''9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7AB687C-23E9-4A52-99E0-E72FE1BC637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525713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927DAE-D762-4F94-98F9-2D76B820D6C8}" type="datetime'''''''''''''''''''''''2''0''21''''''''''''''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6D04468A-40BF-467E-8DB3-E49374317CC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962150" y="2895600"/>
            <a:ext cx="141288" cy="212725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76CD76-929A-40C2-B735-4A6D3FDF18C1}" type="datetime'''''''''''''''''''''''''''''''''''''''''''''3'''''''''''''">
              <a:rPr lang="is-IS" altLang="en-US" smtClean="0"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is-IS" dirty="0"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66CBFBF4-63DC-4B2B-B0D4-AC62F2B8D57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05163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BD1A3B-F6E7-4664-8EA4-DA00E5748AE1}" type="datetime'''2''''''''''0''''''''''''''''''''''2''''''''''''''''2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336AFFC-694F-474E-9D86-C1C464EBAF6D}"/>
              </a:ext>
            </a:extLst>
          </p:cNvPr>
          <p:cNvSpPr/>
          <p:nvPr/>
        </p:nvSpPr>
        <p:spPr>
          <a:xfrm>
            <a:off x="2103035" y="1004888"/>
            <a:ext cx="540000" cy="539750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24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42B1155E-F341-4F48-BA80-89CB8C59267F}"/>
              </a:ext>
            </a:extLst>
          </p:cNvPr>
          <p:cNvSpPr/>
          <p:nvPr/>
        </p:nvSpPr>
        <p:spPr>
          <a:xfrm>
            <a:off x="5826000" y="1004888"/>
            <a:ext cx="540000" cy="53975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2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B7C6918-36C0-4E50-B2AE-221A6DC5C637}"/>
              </a:ext>
            </a:extLst>
          </p:cNvPr>
          <p:cNvSpPr/>
          <p:nvPr/>
        </p:nvSpPr>
        <p:spPr>
          <a:xfrm>
            <a:off x="9490075" y="1004888"/>
            <a:ext cx="539750" cy="539750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sz="2400" b="1" dirty="0">
                <a:solidFill>
                  <a:schemeClr val="bg1"/>
                </a:solidFill>
              </a:rPr>
              <a:t>3</a:t>
            </a:r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E6C088B0-21C8-4B65-A88B-C80D1258C355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74028437"/>
              </p:ext>
            </p:extLst>
          </p:nvPr>
        </p:nvGraphicFramePr>
        <p:xfrm>
          <a:off x="4654550" y="2444750"/>
          <a:ext cx="2887663" cy="160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B00038AB-AC9C-4D48-A35D-C710419FE0F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931025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67375C-F3CA-41C0-A87A-22BB8486D958}" type="datetime'''''''''''2''''''''''''''''''''''''02''2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9DAB959C-6B5C-4D86-B35D-1BFFD43D52B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251575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CE733A-4EC2-4BB9-BF56-ADF9AAB3F4C7}" type="datetime'''''''''''''''''''''''''''''20''''''''''''''21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90223728-A4DC-4F9B-AED3-61022DE929B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889500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CCD398-3A7F-459F-81E5-A7A8D8FFA7F0}" type="datetime'''''''''2''''''''''''''''''0''''''1''9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62BFD154-BD20-4175-8A5C-E368ACBA61A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570538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7BE7FD-D5F5-44CC-99DC-ED56F3A4A2CC}" type="datetime'''''2''''''''0''''''''''''''''''2''''''''''0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BF8459C6-74A3-43D6-8253-EEF8CBF30B35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1818683"/>
              </p:ext>
            </p:extLst>
          </p:nvPr>
        </p:nvGraphicFramePr>
        <p:xfrm>
          <a:off x="8426450" y="2444750"/>
          <a:ext cx="2887663" cy="160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FCB49280-E2AA-4124-8D46-8E09BF12BF5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661400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D8223C-45C7-440B-A09B-2FBBC9260F4D}" type="datetime'''''2''''''0''''''''''''''''''19''''''''''''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936E0C42-AFD3-406D-BC4C-5F31029946E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342438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1E9298-9A18-4525-A603-3D04AB02ECF7}" type="datetime'''''2''''''''''''''''''''''''''''''''''''0''''''''''''20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59F6325A-6E8F-4045-B452-96510EC11EB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023475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AB2889-BD0D-491B-8DDC-0EA208E6E7F2}" type="datetime'2''''0''''''2''''''''''''''''''''''''''''1''''''''''''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73A42147-2140-4CDD-965B-469C6AC8175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702925" y="4029075"/>
            <a:ext cx="374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:lc="http://schemas.openxmlformats.org/drawingml/2006/lockedCanvas" xmlns:ma14="http://schemas.microsoft.com/office/mac/drawingml/2011/main" xmlns="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A716E2-091D-4AF4-91CE-7FAA2FD2B015}" type="datetime'''''''2''''''''''''''''0''2''''''''''''''''''''''''''2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EA0EB2-852B-429D-AC49-B52BF7451604}"/>
              </a:ext>
            </a:extLst>
          </p:cNvPr>
          <p:cNvSpPr txBox="1"/>
          <p:nvPr/>
        </p:nvSpPr>
        <p:spPr>
          <a:xfrm>
            <a:off x="1464040" y="1698625"/>
            <a:ext cx="1817997" cy="52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is-IS" b="1" dirty="0">
                <a:solidFill>
                  <a:schemeClr val="accent3"/>
                </a:solidFill>
              </a:rPr>
              <a:t>Sviðsmynd 1</a:t>
            </a:r>
            <a:br>
              <a:rPr lang="is-IS" b="1" dirty="0">
                <a:solidFill>
                  <a:schemeClr val="accent3"/>
                </a:solidFill>
              </a:rPr>
            </a:br>
            <a:r>
              <a:rPr lang="is-IS" sz="16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gvöxtur á mann 1%</a:t>
            </a:r>
            <a:endParaRPr lang="is-IS" i="1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A6E2DE21-AE8E-49CA-9CBE-FDEA430B2D5D}"/>
              </a:ext>
            </a:extLst>
          </p:cNvPr>
          <p:cNvSpPr txBox="1"/>
          <p:nvPr/>
        </p:nvSpPr>
        <p:spPr>
          <a:xfrm>
            <a:off x="5187002" y="1698625"/>
            <a:ext cx="1817997" cy="52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is-IS" b="1" dirty="0">
                <a:solidFill>
                  <a:schemeClr val="accent5"/>
                </a:solidFill>
              </a:rPr>
              <a:t>Sviðsmynd 2</a:t>
            </a:r>
            <a:br>
              <a:rPr lang="is-IS" b="1" dirty="0">
                <a:solidFill>
                  <a:schemeClr val="accent3"/>
                </a:solidFill>
              </a:rPr>
            </a:br>
            <a:r>
              <a:rPr lang="is-IS" sz="16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gvöxtur á mann 2%</a:t>
            </a:r>
            <a:endParaRPr lang="is-IS" i="1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A7DABB30-6D87-42E5-9FDF-CFC74355FDD8}"/>
              </a:ext>
            </a:extLst>
          </p:cNvPr>
          <p:cNvSpPr txBox="1"/>
          <p:nvPr/>
        </p:nvSpPr>
        <p:spPr>
          <a:xfrm>
            <a:off x="8851900" y="1698625"/>
            <a:ext cx="1817688" cy="52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is-IS" b="1" dirty="0">
                <a:solidFill>
                  <a:schemeClr val="accent6"/>
                </a:solidFill>
              </a:rPr>
              <a:t>Sviðsmynd 3</a:t>
            </a:r>
            <a:br>
              <a:rPr lang="is-IS" b="1" dirty="0">
                <a:solidFill>
                  <a:schemeClr val="accent6"/>
                </a:solidFill>
              </a:rPr>
            </a:br>
            <a:r>
              <a:rPr lang="is-IS" sz="16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gvöxtur á mann 3%</a:t>
            </a:r>
            <a:endParaRPr lang="is-IS" i="1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33C1858B-D2D1-443B-8B90-5E0774B8E5A2}"/>
              </a:ext>
            </a:extLst>
          </p:cNvPr>
          <p:cNvSpPr/>
          <p:nvPr/>
        </p:nvSpPr>
        <p:spPr>
          <a:xfrm rot="10800000">
            <a:off x="1077913" y="4479925"/>
            <a:ext cx="2573278" cy="720725"/>
          </a:xfrm>
          <a:prstGeom prst="triangle">
            <a:avLst/>
          </a:prstGeom>
          <a:noFill/>
          <a:ln w="3175">
            <a:solidFill>
              <a:schemeClr val="tx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solidFill>
                <a:schemeClr val="accent6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8663634-BBBA-4418-AFE9-AFE91331D2B2}"/>
              </a:ext>
            </a:extLst>
          </p:cNvPr>
          <p:cNvSpPr/>
          <p:nvPr/>
        </p:nvSpPr>
        <p:spPr>
          <a:xfrm>
            <a:off x="1077856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17</a:t>
            </a:r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71A3F11D-7AAB-4E53-A08D-0E5EBF466BE6}"/>
              </a:ext>
            </a:extLst>
          </p:cNvPr>
          <p:cNvSpPr/>
          <p:nvPr/>
        </p:nvSpPr>
        <p:spPr>
          <a:xfrm>
            <a:off x="1762000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27</a:t>
            </a: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75E4E0FB-60EB-4F81-B1FD-3B7C52829412}"/>
              </a:ext>
            </a:extLst>
          </p:cNvPr>
          <p:cNvSpPr/>
          <p:nvPr/>
        </p:nvSpPr>
        <p:spPr>
          <a:xfrm>
            <a:off x="2446144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27</a:t>
            </a: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7A24D911-6A10-40A4-94B4-BE196D625AE9}"/>
              </a:ext>
            </a:extLst>
          </p:cNvPr>
          <p:cNvSpPr/>
          <p:nvPr/>
        </p:nvSpPr>
        <p:spPr>
          <a:xfrm>
            <a:off x="3111132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28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1989CBF-A9ED-4B17-8A06-368D42D2ECF8}"/>
              </a:ext>
            </a:extLst>
          </p:cNvPr>
          <p:cNvSpPr/>
          <p:nvPr/>
        </p:nvSpPr>
        <p:spPr>
          <a:xfrm>
            <a:off x="2009595" y="4956175"/>
            <a:ext cx="720000" cy="360363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b="1" dirty="0"/>
              <a:t>99</a:t>
            </a:r>
          </a:p>
        </p:txBody>
      </p:sp>
      <p:sp>
        <p:nvSpPr>
          <p:cNvPr id="168" name="Isosceles Triangle 167">
            <a:extLst>
              <a:ext uri="{FF2B5EF4-FFF2-40B4-BE49-F238E27FC236}">
                <a16:creationId xmlns:a16="http://schemas.microsoft.com/office/drawing/2014/main" id="{3116EB18-C4DE-4B2D-8A53-B074B8509D3E}"/>
              </a:ext>
            </a:extLst>
          </p:cNvPr>
          <p:cNvSpPr/>
          <p:nvPr/>
        </p:nvSpPr>
        <p:spPr>
          <a:xfrm rot="10800000">
            <a:off x="4810125" y="4479925"/>
            <a:ext cx="2573278" cy="720725"/>
          </a:xfrm>
          <a:prstGeom prst="triangle">
            <a:avLst/>
          </a:prstGeom>
          <a:noFill/>
          <a:ln w="3175">
            <a:solidFill>
              <a:schemeClr val="tx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solidFill>
                <a:schemeClr val="accent6"/>
              </a:solidFill>
            </a:endParaRP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6C844BE4-D62A-4099-A84F-E743182BF67F}"/>
              </a:ext>
            </a:extLst>
          </p:cNvPr>
          <p:cNvSpPr/>
          <p:nvPr/>
        </p:nvSpPr>
        <p:spPr>
          <a:xfrm>
            <a:off x="4809364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17</a:t>
            </a: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B727E02A-BE4D-4ADC-BF4A-1CC5E2672520}"/>
              </a:ext>
            </a:extLst>
          </p:cNvPr>
          <p:cNvSpPr/>
          <p:nvPr/>
        </p:nvSpPr>
        <p:spPr>
          <a:xfrm>
            <a:off x="5493508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32</a:t>
            </a: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03CDD419-F756-47A3-AA81-0644C97AB071}"/>
              </a:ext>
            </a:extLst>
          </p:cNvPr>
          <p:cNvSpPr/>
          <p:nvPr/>
        </p:nvSpPr>
        <p:spPr>
          <a:xfrm>
            <a:off x="6177652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32</a:t>
            </a: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ABB6D47D-5E57-4B97-928F-A17F3A1C433C}"/>
              </a:ext>
            </a:extLst>
          </p:cNvPr>
          <p:cNvSpPr/>
          <p:nvPr/>
        </p:nvSpPr>
        <p:spPr>
          <a:xfrm>
            <a:off x="6842640" y="4344989"/>
            <a:ext cx="54000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33</a:t>
            </a: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98872C7F-FDD2-4418-90E2-4CEA97997BB6}"/>
              </a:ext>
            </a:extLst>
          </p:cNvPr>
          <p:cNvSpPr/>
          <p:nvPr/>
        </p:nvSpPr>
        <p:spPr>
          <a:xfrm>
            <a:off x="5741103" y="4956175"/>
            <a:ext cx="720000" cy="360363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b="1" dirty="0"/>
              <a:t>114</a:t>
            </a:r>
          </a:p>
        </p:txBody>
      </p:sp>
      <p:sp>
        <p:nvSpPr>
          <p:cNvPr id="174" name="Isosceles Triangle 173">
            <a:extLst>
              <a:ext uri="{FF2B5EF4-FFF2-40B4-BE49-F238E27FC236}">
                <a16:creationId xmlns:a16="http://schemas.microsoft.com/office/drawing/2014/main" id="{D373B34A-7F88-4BD9-8D9E-7AD8A35B3D2A}"/>
              </a:ext>
            </a:extLst>
          </p:cNvPr>
          <p:cNvSpPr/>
          <p:nvPr/>
        </p:nvSpPr>
        <p:spPr>
          <a:xfrm rot="10800000">
            <a:off x="8534400" y="4479925"/>
            <a:ext cx="2573338" cy="720725"/>
          </a:xfrm>
          <a:prstGeom prst="triangle">
            <a:avLst/>
          </a:prstGeom>
          <a:noFill/>
          <a:ln w="3175">
            <a:solidFill>
              <a:schemeClr val="tx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>
              <a:solidFill>
                <a:schemeClr val="accent6"/>
              </a:solidFill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2B645B82-C8B7-4F85-977C-C311D11803B9}"/>
              </a:ext>
            </a:extLst>
          </p:cNvPr>
          <p:cNvSpPr/>
          <p:nvPr/>
        </p:nvSpPr>
        <p:spPr>
          <a:xfrm>
            <a:off x="8534400" y="4344989"/>
            <a:ext cx="53975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17</a:t>
            </a: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8BAB8104-A444-4B41-9BB6-C4B3C57BFAB6}"/>
              </a:ext>
            </a:extLst>
          </p:cNvPr>
          <p:cNvSpPr/>
          <p:nvPr/>
        </p:nvSpPr>
        <p:spPr>
          <a:xfrm>
            <a:off x="9218613" y="4344989"/>
            <a:ext cx="53975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37</a:t>
            </a: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7615C3A1-8DE4-442E-B02B-BCE60AD8BF75}"/>
              </a:ext>
            </a:extLst>
          </p:cNvPr>
          <p:cNvSpPr/>
          <p:nvPr/>
        </p:nvSpPr>
        <p:spPr>
          <a:xfrm>
            <a:off x="9902825" y="4344989"/>
            <a:ext cx="53975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37</a:t>
            </a: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E1563145-ECD9-4B32-ACEE-149777AAEE79}"/>
              </a:ext>
            </a:extLst>
          </p:cNvPr>
          <p:cNvSpPr/>
          <p:nvPr/>
        </p:nvSpPr>
        <p:spPr>
          <a:xfrm>
            <a:off x="10567988" y="4344989"/>
            <a:ext cx="539750" cy="2698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sz="1400" b="1" dirty="0">
                <a:solidFill>
                  <a:schemeClr val="tx2"/>
                </a:solidFill>
              </a:rPr>
              <a:t>38</a:t>
            </a:r>
          </a:p>
        </p:txBody>
      </p:sp>
      <p:sp>
        <p:nvSpPr>
          <p:cNvPr id="179" name="Oval 178">
            <a:extLst>
              <a:ext uri="{FF2B5EF4-FFF2-40B4-BE49-F238E27FC236}">
                <a16:creationId xmlns:a16="http://schemas.microsoft.com/office/drawing/2014/main" id="{9B622521-EEEF-47F1-A7EC-F3574B608324}"/>
              </a:ext>
            </a:extLst>
          </p:cNvPr>
          <p:cNvSpPr/>
          <p:nvPr/>
        </p:nvSpPr>
        <p:spPr>
          <a:xfrm>
            <a:off x="9466263" y="4956175"/>
            <a:ext cx="720725" cy="360363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s-IS" b="1" dirty="0"/>
              <a:t>129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45EAD81A-A224-4048-A28A-E9D928712495}"/>
              </a:ext>
            </a:extLst>
          </p:cNvPr>
          <p:cNvSpPr txBox="1"/>
          <p:nvPr/>
        </p:nvSpPr>
        <p:spPr>
          <a:xfrm>
            <a:off x="1069974" y="2463800"/>
            <a:ext cx="2581157" cy="430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Þúsundir</a:t>
            </a:r>
            <a:b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róna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B83459B7-B3B0-4137-AE8A-6582AAEE87A8}"/>
              </a:ext>
            </a:extLst>
          </p:cNvPr>
          <p:cNvSpPr txBox="1"/>
          <p:nvPr/>
        </p:nvSpPr>
        <p:spPr>
          <a:xfrm>
            <a:off x="4801482" y="2463800"/>
            <a:ext cx="2581157" cy="430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Þúsundir</a:t>
            </a:r>
            <a:b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róna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0CB9094F-154C-4DF4-904A-0B832CF9F569}"/>
              </a:ext>
            </a:extLst>
          </p:cNvPr>
          <p:cNvSpPr txBox="1"/>
          <p:nvPr/>
        </p:nvSpPr>
        <p:spPr>
          <a:xfrm>
            <a:off x="8509000" y="2463800"/>
            <a:ext cx="2581275" cy="430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Þúsundir</a:t>
            </a:r>
            <a:b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rón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5F8CF8-E92D-4946-92F5-FCE34C4AFACF}"/>
              </a:ext>
            </a:extLst>
          </p:cNvPr>
          <p:cNvSpPr txBox="1"/>
          <p:nvPr/>
        </p:nvSpPr>
        <p:spPr>
          <a:xfrm>
            <a:off x="1227978" y="5389563"/>
            <a:ext cx="2290114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1400" b="1" dirty="0">
                <a:solidFill>
                  <a:schemeClr val="tx2"/>
                </a:solidFill>
              </a:rPr>
              <a:t>Samanlögð hækkun 2019-2022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398FC7CB-E3CE-493A-828A-648A57D51AB9}"/>
              </a:ext>
            </a:extLst>
          </p:cNvPr>
          <p:cNvSpPr txBox="1"/>
          <p:nvPr/>
        </p:nvSpPr>
        <p:spPr>
          <a:xfrm>
            <a:off x="4947003" y="5389563"/>
            <a:ext cx="2290114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1400" b="1" dirty="0">
                <a:solidFill>
                  <a:schemeClr val="tx2"/>
                </a:solidFill>
              </a:rPr>
              <a:t>Samanlögð hækkun 2019-2022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3A0DEBD3-62F9-4816-9E40-CC61690784AA}"/>
              </a:ext>
            </a:extLst>
          </p:cNvPr>
          <p:cNvSpPr txBox="1"/>
          <p:nvPr/>
        </p:nvSpPr>
        <p:spPr>
          <a:xfrm>
            <a:off x="8631238" y="5389563"/>
            <a:ext cx="2290763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1400" b="1" dirty="0">
                <a:solidFill>
                  <a:schemeClr val="tx2"/>
                </a:solidFill>
              </a:rPr>
              <a:t>Samanlögð hækkun 2019-2022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9C9F82AC-2F84-476F-959A-A115D7A80178}"/>
              </a:ext>
            </a:extLst>
          </p:cNvPr>
          <p:cNvSpPr txBox="1"/>
          <p:nvPr/>
        </p:nvSpPr>
        <p:spPr>
          <a:xfrm>
            <a:off x="1084262" y="5940424"/>
            <a:ext cx="10023476" cy="38735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wrap="square" lIns="36000" tIns="36000" rIns="36000" bIns="36000" rtlCol="0">
            <a:spAutoFit/>
          </a:bodyPr>
          <a:lstStyle/>
          <a:p>
            <a:pPr algn="ctr">
              <a:buClr>
                <a:schemeClr val="accent5"/>
              </a:buClr>
            </a:pPr>
            <a:r>
              <a:rPr lang="is-IS" b="1" dirty="0">
                <a:solidFill>
                  <a:schemeClr val="accent4"/>
                </a:solidFill>
                <a:latin typeface="+mj-lt"/>
                <a:cs typeface="Calibri Light" panose="020F0302020204030204" pitchFamily="34" charset="0"/>
              </a:rPr>
              <a:t>Við bætist 26.000 kr. orlofsuppbótarauki sem greiðist út fyrir 2. maí 2019</a:t>
            </a:r>
          </a:p>
        </p:txBody>
      </p:sp>
    </p:spTree>
    <p:extLst>
      <p:ext uri="{BB962C8B-B14F-4D97-AF65-F5344CB8AC3E}">
        <p14:creationId xmlns:p14="http://schemas.microsoft.com/office/powerpoint/2010/main" val="464206808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88CE0F-47D5-4298-8B54-CB7580AB19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58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88CE0F-47D5-4298-8B54-CB7580AB1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F4B11DE-64C6-4517-8DFD-E83B200CA8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22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261A9CE-485B-4FA9-BD39-3DF4B0C2D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11160000" cy="434608"/>
          </a:xfrm>
        </p:spPr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Launahækkanir samningsins eru í formi krónutöluhækkana á kauptaxta og föst mánaðarlau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AAC5CB9-97E9-4EBD-993E-700C138BDC84}"/>
              </a:ext>
            </a:extLst>
          </p:cNvPr>
          <p:cNvSpPr/>
          <p:nvPr/>
        </p:nvSpPr>
        <p:spPr>
          <a:xfrm>
            <a:off x="4287239" y="1273947"/>
            <a:ext cx="2740124" cy="227317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>
              <a:solidFill>
                <a:schemeClr val="accent3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0EEA989-EF64-408C-B116-78F8DDA72F02}"/>
              </a:ext>
            </a:extLst>
          </p:cNvPr>
          <p:cNvGrpSpPr/>
          <p:nvPr/>
        </p:nvGrpSpPr>
        <p:grpSpPr>
          <a:xfrm>
            <a:off x="4771624" y="1840627"/>
            <a:ext cx="1843161" cy="1492026"/>
            <a:chOff x="2590172" y="2086726"/>
            <a:chExt cx="1843161" cy="1492026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AF6C79D-55C2-4616-B001-69F6DDFAAC28}"/>
                </a:ext>
              </a:extLst>
            </p:cNvPr>
            <p:cNvSpPr txBox="1"/>
            <p:nvPr/>
          </p:nvSpPr>
          <p:spPr>
            <a:xfrm>
              <a:off x="2590172" y="2381966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19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3946AD3-A104-4EBE-A806-3D91FEB1944E}"/>
                </a:ext>
              </a:extLst>
            </p:cNvPr>
            <p:cNvSpPr txBox="1"/>
            <p:nvPr/>
          </p:nvSpPr>
          <p:spPr>
            <a:xfrm>
              <a:off x="2590172" y="2709080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0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87B2DE4D-66AC-4022-8FE5-BD5478C29848}"/>
                </a:ext>
              </a:extLst>
            </p:cNvPr>
            <p:cNvSpPr txBox="1"/>
            <p:nvPr/>
          </p:nvSpPr>
          <p:spPr>
            <a:xfrm>
              <a:off x="2590172" y="3036194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1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5E5ABAE-D568-4824-A758-F578EAADF66F}"/>
                </a:ext>
              </a:extLst>
            </p:cNvPr>
            <p:cNvSpPr txBox="1"/>
            <p:nvPr/>
          </p:nvSpPr>
          <p:spPr>
            <a:xfrm>
              <a:off x="2590172" y="3363308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2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92B65B3-CF61-4903-9BF6-1A874EFB59F4}"/>
                </a:ext>
              </a:extLst>
            </p:cNvPr>
            <p:cNvSpPr txBox="1"/>
            <p:nvPr/>
          </p:nvSpPr>
          <p:spPr>
            <a:xfrm>
              <a:off x="2590172" y="2086726"/>
              <a:ext cx="173124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tx2"/>
                  </a:solidFill>
                </a:rPr>
                <a:t>Ár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4D3D4D6-6CDE-448D-B012-F11ABB3BE494}"/>
                </a:ext>
              </a:extLst>
            </p:cNvPr>
            <p:cNvSpPr txBox="1"/>
            <p:nvPr/>
          </p:nvSpPr>
          <p:spPr>
            <a:xfrm>
              <a:off x="3636384" y="2381966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17.000 kr.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777E2DE-89E0-4345-9E02-B24AD19EE904}"/>
                </a:ext>
              </a:extLst>
            </p:cNvPr>
            <p:cNvSpPr txBox="1"/>
            <p:nvPr/>
          </p:nvSpPr>
          <p:spPr>
            <a:xfrm>
              <a:off x="3636384" y="2709080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24.000 kr.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5630B0B-4C22-4A99-A7A2-13C72367C1B8}"/>
                </a:ext>
              </a:extLst>
            </p:cNvPr>
            <p:cNvSpPr txBox="1"/>
            <p:nvPr/>
          </p:nvSpPr>
          <p:spPr>
            <a:xfrm>
              <a:off x="3636384" y="3036194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24.000 kr.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9F1181F-AD41-4A6C-B2B9-CBDF79EC869A}"/>
                </a:ext>
              </a:extLst>
            </p:cNvPr>
            <p:cNvSpPr txBox="1"/>
            <p:nvPr/>
          </p:nvSpPr>
          <p:spPr>
            <a:xfrm>
              <a:off x="3636384" y="3363308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25.000 kr.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F1548F4-7802-4956-BAD8-11526751FC84}"/>
                </a:ext>
              </a:extLst>
            </p:cNvPr>
            <p:cNvSpPr txBox="1"/>
            <p:nvPr/>
          </p:nvSpPr>
          <p:spPr>
            <a:xfrm>
              <a:off x="4250334" y="2086726"/>
              <a:ext cx="18299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b="1" dirty="0">
                  <a:solidFill>
                    <a:schemeClr val="tx2"/>
                  </a:solidFill>
                </a:rPr>
                <a:t>kr.</a:t>
              </a: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6EE0F7F4-F6A7-448B-BA4B-9E8B33F2F5CB}"/>
                </a:ext>
              </a:extLst>
            </p:cNvPr>
            <p:cNvCxnSpPr/>
            <p:nvPr/>
          </p:nvCxnSpPr>
          <p:spPr>
            <a:xfrm>
              <a:off x="2590172" y="2648346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6440606-C61B-4F4A-A019-7D7847B0ECD3}"/>
                </a:ext>
              </a:extLst>
            </p:cNvPr>
            <p:cNvCxnSpPr/>
            <p:nvPr/>
          </p:nvCxnSpPr>
          <p:spPr>
            <a:xfrm>
              <a:off x="2590172" y="2979247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60EC0124-0FF7-43E1-9726-54E0FB697567}"/>
                </a:ext>
              </a:extLst>
            </p:cNvPr>
            <p:cNvCxnSpPr/>
            <p:nvPr/>
          </p:nvCxnSpPr>
          <p:spPr>
            <a:xfrm>
              <a:off x="2590172" y="3314608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6C8E6E76-EA79-451A-90DD-9E42072C2CB7}"/>
                </a:ext>
              </a:extLst>
            </p:cNvPr>
            <p:cNvCxnSpPr/>
            <p:nvPr/>
          </p:nvCxnSpPr>
          <p:spPr>
            <a:xfrm>
              <a:off x="2590172" y="2316668"/>
              <a:ext cx="1836000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7A47757F-BC73-4024-951A-794BC77FF946}"/>
              </a:ext>
            </a:extLst>
          </p:cNvPr>
          <p:cNvSpPr txBox="1"/>
          <p:nvPr/>
        </p:nvSpPr>
        <p:spPr>
          <a:xfrm>
            <a:off x="4771624" y="1529676"/>
            <a:ext cx="1597681" cy="24622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600" b="1" dirty="0">
                <a:solidFill>
                  <a:schemeClr val="accent3"/>
                </a:solidFill>
              </a:rPr>
              <a:t>Hækkun kauptaxt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155BC5A-3833-47BD-B72F-637A8EE2BC65}"/>
              </a:ext>
            </a:extLst>
          </p:cNvPr>
          <p:cNvSpPr/>
          <p:nvPr/>
        </p:nvSpPr>
        <p:spPr>
          <a:xfrm>
            <a:off x="933927" y="1273947"/>
            <a:ext cx="2740124" cy="227317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>
              <a:solidFill>
                <a:schemeClr val="accent3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27EBD8F-0991-4285-8601-7702852F6C15}"/>
              </a:ext>
            </a:extLst>
          </p:cNvPr>
          <p:cNvGrpSpPr/>
          <p:nvPr/>
        </p:nvGrpSpPr>
        <p:grpSpPr>
          <a:xfrm>
            <a:off x="1382409" y="1834887"/>
            <a:ext cx="1843161" cy="1492026"/>
            <a:chOff x="2590172" y="2086726"/>
            <a:chExt cx="1843161" cy="1492026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98CAF38-EF33-4BC6-B106-32CE5EE7F547}"/>
                </a:ext>
              </a:extLst>
            </p:cNvPr>
            <p:cNvSpPr txBox="1"/>
            <p:nvPr/>
          </p:nvSpPr>
          <p:spPr>
            <a:xfrm>
              <a:off x="2590172" y="2381966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19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ECE7E9F-ACBF-415E-A0F1-879022D009B4}"/>
                </a:ext>
              </a:extLst>
            </p:cNvPr>
            <p:cNvSpPr txBox="1"/>
            <p:nvPr/>
          </p:nvSpPr>
          <p:spPr>
            <a:xfrm>
              <a:off x="2590172" y="2709080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0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4C9A8D5-008D-4922-8786-36554964CB0D}"/>
                </a:ext>
              </a:extLst>
            </p:cNvPr>
            <p:cNvSpPr txBox="1"/>
            <p:nvPr/>
          </p:nvSpPr>
          <p:spPr>
            <a:xfrm>
              <a:off x="2590172" y="3036194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1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F4916B2-7CB4-4F88-8272-8BCF711F0FCE}"/>
                </a:ext>
              </a:extLst>
            </p:cNvPr>
            <p:cNvSpPr txBox="1"/>
            <p:nvPr/>
          </p:nvSpPr>
          <p:spPr>
            <a:xfrm>
              <a:off x="2590172" y="3363308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2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B3CF9C0-5794-4E4F-918E-1B40FBA6571B}"/>
                </a:ext>
              </a:extLst>
            </p:cNvPr>
            <p:cNvSpPr txBox="1"/>
            <p:nvPr/>
          </p:nvSpPr>
          <p:spPr>
            <a:xfrm>
              <a:off x="2590172" y="2086726"/>
              <a:ext cx="173124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tx2"/>
                  </a:solidFill>
                </a:rPr>
                <a:t>Ár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1CD44EE-DD7D-481A-B699-3454866149D2}"/>
                </a:ext>
              </a:extLst>
            </p:cNvPr>
            <p:cNvSpPr txBox="1"/>
            <p:nvPr/>
          </p:nvSpPr>
          <p:spPr>
            <a:xfrm>
              <a:off x="3636384" y="2381966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17.000 kr.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6D9B274-538D-4607-A322-B8EDFEE446F2}"/>
                </a:ext>
              </a:extLst>
            </p:cNvPr>
            <p:cNvSpPr txBox="1"/>
            <p:nvPr/>
          </p:nvSpPr>
          <p:spPr>
            <a:xfrm>
              <a:off x="3636384" y="2709080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18.000 kr.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63D8CBD-9384-4225-9F28-B64A6DBCE295}"/>
                </a:ext>
              </a:extLst>
            </p:cNvPr>
            <p:cNvSpPr txBox="1"/>
            <p:nvPr/>
          </p:nvSpPr>
          <p:spPr>
            <a:xfrm>
              <a:off x="3636384" y="3036194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15.750 kr.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9746D2F-9BD1-466D-9B76-BCDBB8D6C850}"/>
                </a:ext>
              </a:extLst>
            </p:cNvPr>
            <p:cNvSpPr txBox="1"/>
            <p:nvPr/>
          </p:nvSpPr>
          <p:spPr>
            <a:xfrm>
              <a:off x="3636384" y="3363308"/>
              <a:ext cx="79694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17.250 kr.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2C61065-AB2C-4957-B9FA-33A0DB066EEC}"/>
                </a:ext>
              </a:extLst>
            </p:cNvPr>
            <p:cNvSpPr txBox="1"/>
            <p:nvPr/>
          </p:nvSpPr>
          <p:spPr>
            <a:xfrm>
              <a:off x="4250334" y="2086726"/>
              <a:ext cx="18299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b="1" dirty="0">
                  <a:solidFill>
                    <a:schemeClr val="tx2"/>
                  </a:solidFill>
                </a:rPr>
                <a:t>kr.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07554DB9-215F-4E97-AA4F-39FCA5CD73D4}"/>
                </a:ext>
              </a:extLst>
            </p:cNvPr>
            <p:cNvCxnSpPr/>
            <p:nvPr/>
          </p:nvCxnSpPr>
          <p:spPr>
            <a:xfrm>
              <a:off x="2590172" y="2648346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0FBC511-5931-4BB4-8757-896A41550813}"/>
                </a:ext>
              </a:extLst>
            </p:cNvPr>
            <p:cNvCxnSpPr/>
            <p:nvPr/>
          </p:nvCxnSpPr>
          <p:spPr>
            <a:xfrm>
              <a:off x="2590172" y="2979247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ADD8988-EBDB-41C6-83FE-0ABEB3416265}"/>
                </a:ext>
              </a:extLst>
            </p:cNvPr>
            <p:cNvCxnSpPr/>
            <p:nvPr/>
          </p:nvCxnSpPr>
          <p:spPr>
            <a:xfrm>
              <a:off x="2590172" y="3314608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0D74BD6A-2274-43A8-8248-7C97C064FC64}"/>
                </a:ext>
              </a:extLst>
            </p:cNvPr>
            <p:cNvCxnSpPr/>
            <p:nvPr/>
          </p:nvCxnSpPr>
          <p:spPr>
            <a:xfrm>
              <a:off x="2590172" y="2316668"/>
              <a:ext cx="1836000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9BF147E2-EA0B-4CE3-861B-B7EC0F84F78D}"/>
              </a:ext>
            </a:extLst>
          </p:cNvPr>
          <p:cNvSpPr txBox="1"/>
          <p:nvPr/>
        </p:nvSpPr>
        <p:spPr>
          <a:xfrm>
            <a:off x="1382409" y="1523936"/>
            <a:ext cx="1395318" cy="24622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just"/>
            <a:r>
              <a:rPr lang="is-IS" sz="1600" b="1" dirty="0">
                <a:solidFill>
                  <a:schemeClr val="accent3"/>
                </a:solidFill>
              </a:rPr>
              <a:t>Almenn hækkun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4E5A5413-FF1C-4F42-B00F-04919437561B}"/>
              </a:ext>
            </a:extLst>
          </p:cNvPr>
          <p:cNvSpPr/>
          <p:nvPr/>
        </p:nvSpPr>
        <p:spPr>
          <a:xfrm>
            <a:off x="1382409" y="3877270"/>
            <a:ext cx="2740124" cy="227317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>
              <a:solidFill>
                <a:schemeClr val="accent3"/>
              </a:solidFill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B8FD0443-91D0-4EE2-901F-0B3FF492010B}"/>
              </a:ext>
            </a:extLst>
          </p:cNvPr>
          <p:cNvGrpSpPr/>
          <p:nvPr/>
        </p:nvGrpSpPr>
        <p:grpSpPr>
          <a:xfrm>
            <a:off x="1830891" y="4438210"/>
            <a:ext cx="1843161" cy="1492026"/>
            <a:chOff x="2590172" y="2086726"/>
            <a:chExt cx="1843161" cy="1492026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5CDDF7A7-B9F1-4840-B12E-F89F6662EBF3}"/>
                </a:ext>
              </a:extLst>
            </p:cNvPr>
            <p:cNvSpPr txBox="1"/>
            <p:nvPr/>
          </p:nvSpPr>
          <p:spPr>
            <a:xfrm>
              <a:off x="2590172" y="2381966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19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13C8E9D7-A7AB-490D-8BB6-0043F7C23E9E}"/>
                </a:ext>
              </a:extLst>
            </p:cNvPr>
            <p:cNvSpPr txBox="1"/>
            <p:nvPr/>
          </p:nvSpPr>
          <p:spPr>
            <a:xfrm>
              <a:off x="2590172" y="2709080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0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9E05E6D9-4A40-4F8F-81CF-097016304024}"/>
                </a:ext>
              </a:extLst>
            </p:cNvPr>
            <p:cNvSpPr txBox="1"/>
            <p:nvPr/>
          </p:nvSpPr>
          <p:spPr>
            <a:xfrm>
              <a:off x="2590172" y="3036194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1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5209F828-5B6A-48E4-A0CD-9B88E511E0AF}"/>
                </a:ext>
              </a:extLst>
            </p:cNvPr>
            <p:cNvSpPr txBox="1"/>
            <p:nvPr/>
          </p:nvSpPr>
          <p:spPr>
            <a:xfrm>
              <a:off x="2590172" y="3363308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2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5B8B6845-BB82-4086-8668-BA1C1DF237A0}"/>
                </a:ext>
              </a:extLst>
            </p:cNvPr>
            <p:cNvSpPr txBox="1"/>
            <p:nvPr/>
          </p:nvSpPr>
          <p:spPr>
            <a:xfrm>
              <a:off x="2590172" y="2086726"/>
              <a:ext cx="173124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tx2"/>
                  </a:solidFill>
                </a:rPr>
                <a:t>Ár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5B7261FA-3331-4709-8D71-2FFE2649B345}"/>
                </a:ext>
              </a:extLst>
            </p:cNvPr>
            <p:cNvSpPr txBox="1"/>
            <p:nvPr/>
          </p:nvSpPr>
          <p:spPr>
            <a:xfrm>
              <a:off x="3726152" y="2381966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50.000 kr.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A0E6D6FA-8C83-48B6-99E6-8116BB54A2A7}"/>
                </a:ext>
              </a:extLst>
            </p:cNvPr>
            <p:cNvSpPr txBox="1"/>
            <p:nvPr/>
          </p:nvSpPr>
          <p:spPr>
            <a:xfrm>
              <a:off x="3726152" y="2709080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51.000 kr.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AB59D430-5419-432E-BC12-E0345613C9C2}"/>
                </a:ext>
              </a:extLst>
            </p:cNvPr>
            <p:cNvSpPr txBox="1"/>
            <p:nvPr/>
          </p:nvSpPr>
          <p:spPr>
            <a:xfrm>
              <a:off x="3726152" y="3036194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52.000 kr.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DC4A7E95-25CB-43CF-831F-CB5AB00A3918}"/>
                </a:ext>
              </a:extLst>
            </p:cNvPr>
            <p:cNvSpPr txBox="1"/>
            <p:nvPr/>
          </p:nvSpPr>
          <p:spPr>
            <a:xfrm>
              <a:off x="3726152" y="3363308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53.000 kr.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15FC0E1B-6B1C-4547-93CA-4EC9CC148B19}"/>
                </a:ext>
              </a:extLst>
            </p:cNvPr>
            <p:cNvSpPr txBox="1"/>
            <p:nvPr/>
          </p:nvSpPr>
          <p:spPr>
            <a:xfrm>
              <a:off x="4250334" y="2086726"/>
              <a:ext cx="18299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b="1" dirty="0">
                  <a:solidFill>
                    <a:schemeClr val="tx2"/>
                  </a:solidFill>
                </a:rPr>
                <a:t>kr.</a:t>
              </a:r>
            </a:p>
          </p:txBody>
        </p: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8418799C-81DE-4137-9307-216DA8024AA8}"/>
                </a:ext>
              </a:extLst>
            </p:cNvPr>
            <p:cNvCxnSpPr/>
            <p:nvPr/>
          </p:nvCxnSpPr>
          <p:spPr>
            <a:xfrm>
              <a:off x="2590172" y="2648346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F0E1CA17-BBEF-45CB-91F1-845FA3D48E7B}"/>
                </a:ext>
              </a:extLst>
            </p:cNvPr>
            <p:cNvCxnSpPr/>
            <p:nvPr/>
          </p:nvCxnSpPr>
          <p:spPr>
            <a:xfrm>
              <a:off x="2590172" y="2979247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6EA6EF78-997E-4E3F-8A39-8754CBE81782}"/>
                </a:ext>
              </a:extLst>
            </p:cNvPr>
            <p:cNvCxnSpPr/>
            <p:nvPr/>
          </p:nvCxnSpPr>
          <p:spPr>
            <a:xfrm>
              <a:off x="2590172" y="3314608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43AE5A21-77F3-4259-9B32-A2CD9DF4FDFD}"/>
                </a:ext>
              </a:extLst>
            </p:cNvPr>
            <p:cNvCxnSpPr/>
            <p:nvPr/>
          </p:nvCxnSpPr>
          <p:spPr>
            <a:xfrm>
              <a:off x="2590172" y="2316668"/>
              <a:ext cx="1836000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082FA197-6D91-4954-B92A-AB7890FC7653}"/>
              </a:ext>
            </a:extLst>
          </p:cNvPr>
          <p:cNvSpPr txBox="1"/>
          <p:nvPr/>
        </p:nvSpPr>
        <p:spPr>
          <a:xfrm>
            <a:off x="1787207" y="4127259"/>
            <a:ext cx="1142557" cy="24622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600" b="1" dirty="0">
                <a:solidFill>
                  <a:schemeClr val="accent5"/>
                </a:solidFill>
              </a:rPr>
              <a:t>Orlofsuppbót</a:t>
            </a:r>
          </a:p>
        </p:txBody>
      </p:sp>
      <p:sp>
        <p:nvSpPr>
          <p:cNvPr id="111" name="Speech Bubble: Rectangle with Corners Rounded 110">
            <a:extLst>
              <a:ext uri="{FF2B5EF4-FFF2-40B4-BE49-F238E27FC236}">
                <a16:creationId xmlns:a16="http://schemas.microsoft.com/office/drawing/2014/main" id="{07D907AF-91F1-40F7-9235-8BA662D7AFC3}"/>
              </a:ext>
            </a:extLst>
          </p:cNvPr>
          <p:cNvSpPr/>
          <p:nvPr/>
        </p:nvSpPr>
        <p:spPr>
          <a:xfrm>
            <a:off x="4209821" y="3877270"/>
            <a:ext cx="1902538" cy="1210416"/>
          </a:xfrm>
          <a:prstGeom prst="wedgeRoundRectCallout">
            <a:avLst>
              <a:gd name="adj1" fmla="val -74939"/>
              <a:gd name="adj2" fmla="val 32484"/>
              <a:gd name="adj3" fmla="val 16667"/>
            </a:avLst>
          </a:prstGeom>
          <a:solidFill>
            <a:schemeClr val="accent5">
              <a:lumMod val="20000"/>
              <a:lumOff val="80000"/>
            </a:schemeClr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algn="ctr"/>
            <a:endParaRPr lang="is-IS" sz="1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75876E9C-15A4-4B4D-9DD1-FF0B0AC5AC4E}"/>
              </a:ext>
            </a:extLst>
          </p:cNvPr>
          <p:cNvSpPr/>
          <p:nvPr/>
        </p:nvSpPr>
        <p:spPr>
          <a:xfrm>
            <a:off x="4416766" y="4051591"/>
            <a:ext cx="1488648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+26.000 króna</a:t>
            </a:r>
            <a:b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</a:br>
            <a: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  <a:t>orlofsuppbótarauki</a:t>
            </a:r>
            <a:br>
              <a:rPr lang="is-IS" sz="1400" b="1" dirty="0">
                <a:solidFill>
                  <a:schemeClr val="accent5"/>
                </a:solidFill>
                <a:latin typeface="+mj-lt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m greiðist til allra</a:t>
            </a:r>
            <a:b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yrir 2. maí 2019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7532EA1B-5A2B-4E7E-AA45-AF5E0D04886D}"/>
              </a:ext>
            </a:extLst>
          </p:cNvPr>
          <p:cNvSpPr/>
          <p:nvPr/>
        </p:nvSpPr>
        <p:spPr>
          <a:xfrm>
            <a:off x="6829010" y="3863243"/>
            <a:ext cx="2740124" cy="227317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>
              <a:solidFill>
                <a:schemeClr val="accent3"/>
              </a:solidFill>
            </a:endParaRP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0488661D-D97C-46F7-BBE1-69FDC39FFCF8}"/>
              </a:ext>
            </a:extLst>
          </p:cNvPr>
          <p:cNvGrpSpPr/>
          <p:nvPr/>
        </p:nvGrpSpPr>
        <p:grpSpPr>
          <a:xfrm>
            <a:off x="7277492" y="4424183"/>
            <a:ext cx="1843161" cy="1492026"/>
            <a:chOff x="2590172" y="2086726"/>
            <a:chExt cx="1843161" cy="1492026"/>
          </a:xfrm>
        </p:grpSpPr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07F8BE8F-94C7-4CED-9BB0-93DB8B8125BB}"/>
                </a:ext>
              </a:extLst>
            </p:cNvPr>
            <p:cNvSpPr txBox="1"/>
            <p:nvPr/>
          </p:nvSpPr>
          <p:spPr>
            <a:xfrm>
              <a:off x="2590172" y="2381966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19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EBFF7E50-5022-43AB-B39B-FE27BB771EC5}"/>
                </a:ext>
              </a:extLst>
            </p:cNvPr>
            <p:cNvSpPr txBox="1"/>
            <p:nvPr/>
          </p:nvSpPr>
          <p:spPr>
            <a:xfrm>
              <a:off x="2590172" y="2709080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0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D3372F13-BE58-417B-851E-07097363191C}"/>
                </a:ext>
              </a:extLst>
            </p:cNvPr>
            <p:cNvSpPr txBox="1"/>
            <p:nvPr/>
          </p:nvSpPr>
          <p:spPr>
            <a:xfrm>
              <a:off x="2590172" y="3036194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1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D6A3732D-7381-4A42-ACAC-E6622FF3EB32}"/>
                </a:ext>
              </a:extLst>
            </p:cNvPr>
            <p:cNvSpPr txBox="1"/>
            <p:nvPr/>
          </p:nvSpPr>
          <p:spPr>
            <a:xfrm>
              <a:off x="2590172" y="3363308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2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27CE8868-D59C-4990-952B-7A472901F3B1}"/>
                </a:ext>
              </a:extLst>
            </p:cNvPr>
            <p:cNvSpPr txBox="1"/>
            <p:nvPr/>
          </p:nvSpPr>
          <p:spPr>
            <a:xfrm>
              <a:off x="2590172" y="2086726"/>
              <a:ext cx="173124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tx2"/>
                  </a:solidFill>
                </a:rPr>
                <a:t>Ár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DB7505A5-24DA-4948-9FD5-D8ED037835A8}"/>
                </a:ext>
              </a:extLst>
            </p:cNvPr>
            <p:cNvSpPr txBox="1"/>
            <p:nvPr/>
          </p:nvSpPr>
          <p:spPr>
            <a:xfrm>
              <a:off x="3726152" y="2381966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92.000 kr.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7A1F5A6F-6531-44E6-B0B0-96A132D7CAA9}"/>
                </a:ext>
              </a:extLst>
            </p:cNvPr>
            <p:cNvSpPr txBox="1"/>
            <p:nvPr/>
          </p:nvSpPr>
          <p:spPr>
            <a:xfrm>
              <a:off x="3726152" y="2709080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94.000 kr.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044392BE-FA98-4DD7-8E47-3F37B78C10ED}"/>
                </a:ext>
              </a:extLst>
            </p:cNvPr>
            <p:cNvSpPr txBox="1"/>
            <p:nvPr/>
          </p:nvSpPr>
          <p:spPr>
            <a:xfrm>
              <a:off x="3726152" y="3036194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96.000 kr.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6B621DF7-64E3-437F-AE92-530319BDA34D}"/>
                </a:ext>
              </a:extLst>
            </p:cNvPr>
            <p:cNvSpPr txBox="1"/>
            <p:nvPr/>
          </p:nvSpPr>
          <p:spPr>
            <a:xfrm>
              <a:off x="3726152" y="3363308"/>
              <a:ext cx="70718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98.000 kr.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3CC30725-3DD3-4343-9D6C-E64B9E532BA2}"/>
                </a:ext>
              </a:extLst>
            </p:cNvPr>
            <p:cNvSpPr txBox="1"/>
            <p:nvPr/>
          </p:nvSpPr>
          <p:spPr>
            <a:xfrm>
              <a:off x="4250334" y="2086726"/>
              <a:ext cx="18299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b="1" dirty="0">
                  <a:solidFill>
                    <a:schemeClr val="tx2"/>
                  </a:solidFill>
                </a:rPr>
                <a:t>kr.</a:t>
              </a: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22D59DC8-FE97-4C1C-91AB-F21F5128B988}"/>
                </a:ext>
              </a:extLst>
            </p:cNvPr>
            <p:cNvCxnSpPr/>
            <p:nvPr/>
          </p:nvCxnSpPr>
          <p:spPr>
            <a:xfrm>
              <a:off x="2590172" y="2648346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0B425830-99D3-4404-982E-B47F7B08859A}"/>
                </a:ext>
              </a:extLst>
            </p:cNvPr>
            <p:cNvCxnSpPr/>
            <p:nvPr/>
          </p:nvCxnSpPr>
          <p:spPr>
            <a:xfrm>
              <a:off x="2590172" y="2979247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9B33C8A2-C275-4B6D-9E84-7319C757631B}"/>
                </a:ext>
              </a:extLst>
            </p:cNvPr>
            <p:cNvCxnSpPr/>
            <p:nvPr/>
          </p:nvCxnSpPr>
          <p:spPr>
            <a:xfrm>
              <a:off x="2590172" y="3314608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EBF5C83F-FF1D-4688-B270-647DA87CEF0B}"/>
                </a:ext>
              </a:extLst>
            </p:cNvPr>
            <p:cNvCxnSpPr/>
            <p:nvPr/>
          </p:nvCxnSpPr>
          <p:spPr>
            <a:xfrm>
              <a:off x="2590172" y="2316668"/>
              <a:ext cx="1836000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3" name="TextBox 142">
            <a:extLst>
              <a:ext uri="{FF2B5EF4-FFF2-40B4-BE49-F238E27FC236}">
                <a16:creationId xmlns:a16="http://schemas.microsoft.com/office/drawing/2014/main" id="{72F7DE7B-BAEB-405F-B2CA-7319E09E3C39}"/>
              </a:ext>
            </a:extLst>
          </p:cNvPr>
          <p:cNvSpPr txBox="1"/>
          <p:nvPr/>
        </p:nvSpPr>
        <p:spPr>
          <a:xfrm>
            <a:off x="7233808" y="4113232"/>
            <a:ext cx="1493999" cy="24622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600" b="1" dirty="0">
                <a:solidFill>
                  <a:schemeClr val="accent5"/>
                </a:solidFill>
              </a:rPr>
              <a:t>Desemberuppbót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37DB228-4F29-4CDB-BE41-0649B4ABE0B0}"/>
              </a:ext>
            </a:extLst>
          </p:cNvPr>
          <p:cNvSpPr/>
          <p:nvPr/>
        </p:nvSpPr>
        <p:spPr>
          <a:xfrm>
            <a:off x="7640551" y="1259169"/>
            <a:ext cx="2740124" cy="227317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dirty="0">
              <a:solidFill>
                <a:schemeClr val="accent3"/>
              </a:solidFill>
            </a:endParaRPr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750906A8-71F3-494A-A602-2B03331500DE}"/>
              </a:ext>
            </a:extLst>
          </p:cNvPr>
          <p:cNvGrpSpPr/>
          <p:nvPr/>
        </p:nvGrpSpPr>
        <p:grpSpPr>
          <a:xfrm>
            <a:off x="8092613" y="1854654"/>
            <a:ext cx="1843161" cy="1492026"/>
            <a:chOff x="2590172" y="2086726"/>
            <a:chExt cx="1843161" cy="1492026"/>
          </a:xfrm>
        </p:grpSpPr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64FE3559-8011-4962-B7EC-4B57464FF845}"/>
                </a:ext>
              </a:extLst>
            </p:cNvPr>
            <p:cNvSpPr txBox="1"/>
            <p:nvPr/>
          </p:nvSpPr>
          <p:spPr>
            <a:xfrm>
              <a:off x="2590172" y="2381966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19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219BE5C8-C7EB-42F7-BBCD-69C2940E2E81}"/>
                </a:ext>
              </a:extLst>
            </p:cNvPr>
            <p:cNvSpPr txBox="1"/>
            <p:nvPr/>
          </p:nvSpPr>
          <p:spPr>
            <a:xfrm>
              <a:off x="2590172" y="2709080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0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460EFB94-3AA6-48D1-8D86-26745AA31601}"/>
                </a:ext>
              </a:extLst>
            </p:cNvPr>
            <p:cNvSpPr txBox="1"/>
            <p:nvPr/>
          </p:nvSpPr>
          <p:spPr>
            <a:xfrm>
              <a:off x="2590172" y="3036194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1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9D3FF6EF-0F77-43DD-B9FF-1E0EAD8704A1}"/>
                </a:ext>
              </a:extLst>
            </p:cNvPr>
            <p:cNvSpPr txBox="1"/>
            <p:nvPr/>
          </p:nvSpPr>
          <p:spPr>
            <a:xfrm>
              <a:off x="2590172" y="3363308"/>
              <a:ext cx="36548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22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53F5355C-D0E6-4630-88E3-87A7BD40E7E5}"/>
                </a:ext>
              </a:extLst>
            </p:cNvPr>
            <p:cNvSpPr txBox="1"/>
            <p:nvPr/>
          </p:nvSpPr>
          <p:spPr>
            <a:xfrm>
              <a:off x="2590172" y="2086726"/>
              <a:ext cx="173124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r>
                <a:rPr lang="is-IS" sz="1400" b="1" dirty="0">
                  <a:solidFill>
                    <a:schemeClr val="tx2"/>
                  </a:solidFill>
                </a:rPr>
                <a:t>Ár</a:t>
              </a: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F925AF47-3319-4B20-A099-AB23AAEA79F5}"/>
                </a:ext>
              </a:extLst>
            </p:cNvPr>
            <p:cNvSpPr txBox="1"/>
            <p:nvPr/>
          </p:nvSpPr>
          <p:spPr>
            <a:xfrm>
              <a:off x="3634780" y="2381966"/>
              <a:ext cx="79855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317.000 kr.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4525C303-CABA-46A0-A112-D85250D8D059}"/>
                </a:ext>
              </a:extLst>
            </p:cNvPr>
            <p:cNvSpPr txBox="1"/>
            <p:nvPr/>
          </p:nvSpPr>
          <p:spPr>
            <a:xfrm>
              <a:off x="3634780" y="2709080"/>
              <a:ext cx="79855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335.000 kr.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EFC4CAEF-8CEC-4A19-AECA-45D5F363FA4C}"/>
                </a:ext>
              </a:extLst>
            </p:cNvPr>
            <p:cNvSpPr txBox="1"/>
            <p:nvPr/>
          </p:nvSpPr>
          <p:spPr>
            <a:xfrm>
              <a:off x="3634780" y="3036194"/>
              <a:ext cx="79855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351.000 kr.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0F821C10-9FC8-44B2-9EEC-FCFB657ABFD1}"/>
                </a:ext>
              </a:extLst>
            </p:cNvPr>
            <p:cNvSpPr txBox="1"/>
            <p:nvPr/>
          </p:nvSpPr>
          <p:spPr>
            <a:xfrm>
              <a:off x="3634780" y="3363308"/>
              <a:ext cx="798553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i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368.000 kr.</a:t>
              </a: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522FC597-A91F-4B14-BCDA-39EC31EF114D}"/>
                </a:ext>
              </a:extLst>
            </p:cNvPr>
            <p:cNvSpPr txBox="1"/>
            <p:nvPr/>
          </p:nvSpPr>
          <p:spPr>
            <a:xfrm>
              <a:off x="4250334" y="2086726"/>
              <a:ext cx="18299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is-IS" sz="1400" b="1" dirty="0">
                  <a:solidFill>
                    <a:schemeClr val="tx2"/>
                  </a:solidFill>
                </a:rPr>
                <a:t>kr.</a:t>
              </a:r>
            </a:p>
          </p:txBody>
        </p: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F0C71ABB-1B0E-4D22-A815-05393BC761E8}"/>
                </a:ext>
              </a:extLst>
            </p:cNvPr>
            <p:cNvCxnSpPr/>
            <p:nvPr/>
          </p:nvCxnSpPr>
          <p:spPr>
            <a:xfrm>
              <a:off x="2590172" y="2648346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CA41E546-1C2A-4DFF-8B8B-637BD10800C6}"/>
                </a:ext>
              </a:extLst>
            </p:cNvPr>
            <p:cNvCxnSpPr/>
            <p:nvPr/>
          </p:nvCxnSpPr>
          <p:spPr>
            <a:xfrm>
              <a:off x="2590172" y="2979247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CDBCE191-D5C0-4CFF-99B6-C5032EA5F4F1}"/>
                </a:ext>
              </a:extLst>
            </p:cNvPr>
            <p:cNvCxnSpPr/>
            <p:nvPr/>
          </p:nvCxnSpPr>
          <p:spPr>
            <a:xfrm>
              <a:off x="2590172" y="3314608"/>
              <a:ext cx="1836000" cy="0"/>
            </a:xfrm>
            <a:prstGeom prst="line">
              <a:avLst/>
            </a:prstGeom>
            <a:ln w="3175">
              <a:solidFill>
                <a:schemeClr val="tx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0C6D37E2-E246-42E6-8994-984E2F09AE8A}"/>
                </a:ext>
              </a:extLst>
            </p:cNvPr>
            <p:cNvCxnSpPr/>
            <p:nvPr/>
          </p:nvCxnSpPr>
          <p:spPr>
            <a:xfrm>
              <a:off x="2590172" y="2316668"/>
              <a:ext cx="1836000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648BFA49-1BA8-4282-9C8F-394A1A4341D6}"/>
              </a:ext>
            </a:extLst>
          </p:cNvPr>
          <p:cNvSpPr txBox="1"/>
          <p:nvPr/>
        </p:nvSpPr>
        <p:spPr>
          <a:xfrm>
            <a:off x="8048929" y="1543703"/>
            <a:ext cx="1930528" cy="24622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sz="1600" b="1" dirty="0">
                <a:solidFill>
                  <a:schemeClr val="accent5"/>
                </a:solidFill>
              </a:rPr>
              <a:t>Lágmarkstekjutrygging</a:t>
            </a:r>
          </a:p>
        </p:txBody>
      </p:sp>
    </p:spTree>
    <p:extLst>
      <p:ext uri="{BB962C8B-B14F-4D97-AF65-F5344CB8AC3E}">
        <p14:creationId xmlns:p14="http://schemas.microsoft.com/office/powerpoint/2010/main" val="1736880802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DC1FEDD-2651-4067-B2D8-A5CCA9608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12" imgW="347" imgH="348" progId="TCLayout.ActiveDocument.1">
                  <p:embed/>
                </p:oleObj>
              </mc:Choice>
              <mc:Fallback>
                <p:oleObj name="think-cell Slide" r:id="rId12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DC1FEDD-2651-4067-B2D8-A5CCA9608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71465C-0F8C-438A-89F0-D7D2B9F838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s-IS" sz="1400" b="1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8375F6E-4411-4006-9935-8DF801FEF824}"/>
              </a:ext>
            </a:extLst>
          </p:cNvPr>
          <p:cNvSpPr/>
          <p:nvPr/>
        </p:nvSpPr>
        <p:spPr>
          <a:xfrm>
            <a:off x="539750" y="1254125"/>
            <a:ext cx="6205538" cy="454183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221CA2-254D-448D-B0C3-AE88FFC17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11160000" cy="434608"/>
          </a:xfrm>
        </p:spPr>
        <p:txBody>
          <a:bodyPr/>
          <a:lstStyle/>
          <a:p>
            <a:r>
              <a:rPr lang="is-IS" dirty="0">
                <a:solidFill>
                  <a:schemeClr val="accent3"/>
                </a:solidFill>
              </a:rPr>
              <a:t>Launaþróunartrygging veitir taxtahópum hlutdeild í launaskriði á almennum markaði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9683377-5C3D-4612-BBA3-A3C71282888A}"/>
              </a:ext>
            </a:extLst>
          </p:cNvPr>
          <p:cNvSpPr/>
          <p:nvPr/>
        </p:nvSpPr>
        <p:spPr>
          <a:xfrm>
            <a:off x="6921500" y="1254125"/>
            <a:ext cx="4298950" cy="4541838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B193F3E3-7F2F-42D5-83B6-16A545558D99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7170738" y="2724150"/>
          <a:ext cx="3721100" cy="132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ED1CCC0-A713-4C0F-816E-306A50E1EAA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0415588" y="3038475"/>
            <a:ext cx="4365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900A600-EE11-42CE-8703-A1B6E1DE61A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637588" y="2806700"/>
            <a:ext cx="22145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935C22E-9228-4F4F-AD6B-C43FD281797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V="1">
            <a:off x="10809288" y="2803525"/>
            <a:ext cx="0" cy="2381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01C489FB-6DA1-470C-A276-785878F8DAD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678738" y="4021138"/>
            <a:ext cx="9255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1E85B0-84F2-46DC-B82F-7CE78D23D492}" type="datetime'L''''''''''''''a''''u''''''na''''''''ví''''si''t''''al''a''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aunavísitala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D2C824D0-B84B-4B22-9F7C-8917C627E02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531350" y="4021138"/>
            <a:ext cx="776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CC651B-9A80-4884-8832-FD58F8C9A20B}" type="datetime'''''''''''H''''æ''''''''''st''i'''''''' ''t''''a''''x''ti'''">
              <a:rPr lang="is-IS" altLang="en-US" smtClean="0">
                <a:latin typeface="Calibri Light" panose="020F0302020204030204" pitchFamily="34" charset="0"/>
                <a:cs typeface="Calibri Light" panose="020F0302020204030204" pitchFamily="34" charset="0"/>
                <a:sym typeface="Calibri Light" panose="020F03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æsti taxti</a:t>
            </a:fld>
            <a:endParaRPr lang="is-IS" dirty="0">
              <a:latin typeface="Calibri Light" panose="020F0302020204030204" pitchFamily="34" charset="0"/>
              <a:ea typeface="ＭＳ Ｐゴシック" panose="020B0600070205080204" pitchFamily="34" charset="-128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BF11D5B-E141-47D3-91C4-A3CE74DA7A3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590213" y="3086100"/>
            <a:ext cx="438150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94400" indent="-190800" algn="l" defTabSz="457189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846E57-9803-4D6C-918B-39617CBF4B51}" type="datetime'''''+''''''1''''''''''''''%'''''''''''''''''''''''''''''''">
              <a:rPr lang="is-IS" altLang="en-US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%</a:t>
            </a:fld>
            <a:endParaRPr lang="is-IS" b="1" dirty="0"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B7D1A6F-883E-4F4D-B5EF-CAC34AEC5EAD}"/>
              </a:ext>
            </a:extLst>
          </p:cNvPr>
          <p:cNvSpPr txBox="1"/>
          <p:nvPr/>
        </p:nvSpPr>
        <p:spPr>
          <a:xfrm>
            <a:off x="7307263" y="1501775"/>
            <a:ext cx="633413" cy="2762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is-IS" b="1" dirty="0">
                <a:solidFill>
                  <a:schemeClr val="accent5"/>
                </a:solidFill>
              </a:rPr>
              <a:t>Dæmi:</a:t>
            </a:r>
            <a:endParaRPr lang="is-IS" i="1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16A6C77-CA9D-4AD9-9E63-4834F64C4B2A}"/>
              </a:ext>
            </a:extLst>
          </p:cNvPr>
          <p:cNvSpPr txBox="1"/>
          <p:nvPr/>
        </p:nvSpPr>
        <p:spPr>
          <a:xfrm>
            <a:off x="7307263" y="1839912"/>
            <a:ext cx="3641725" cy="7239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unavísitala hækkar um </a:t>
            </a:r>
            <a:r>
              <a:rPr lang="is-IS" sz="1400" b="1" dirty="0">
                <a:solidFill>
                  <a:schemeClr val="tx2"/>
                </a:solidFill>
                <a:latin typeface="+mj-lt"/>
                <a:cs typeface="Calibri Light" panose="020F0302020204030204" pitchFamily="34" charset="0"/>
              </a:rPr>
              <a:t>5%</a:t>
            </a: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á viðmiðunartímabilinu.</a:t>
            </a:r>
            <a:r>
              <a:rPr lang="is-IS" sz="1400" baseline="300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</a:p>
          <a:p>
            <a:pPr marL="285750" indent="-28575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æsti launataxti hækkaði á sama tíma um </a:t>
            </a:r>
            <a:r>
              <a:rPr lang="is-IS" sz="1400" b="1" dirty="0">
                <a:solidFill>
                  <a:schemeClr val="tx2"/>
                </a:solidFill>
                <a:latin typeface="+mj-lt"/>
                <a:cs typeface="Calibri Light" panose="020F0302020204030204" pitchFamily="34" charset="0"/>
              </a:rPr>
              <a:t>4%.</a:t>
            </a: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952B65A5-DF20-49E7-9CCA-A0C70E81271C}"/>
              </a:ext>
            </a:extLst>
          </p:cNvPr>
          <p:cNvSpPr txBox="1"/>
          <p:nvPr/>
        </p:nvSpPr>
        <p:spPr>
          <a:xfrm>
            <a:off x="7307263" y="5124450"/>
            <a:ext cx="3527425" cy="430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s-IS" sz="1400" b="1" dirty="0">
                <a:solidFill>
                  <a:schemeClr val="tx2"/>
                </a:solidFill>
                <a:latin typeface="+mj-lt"/>
                <a:cs typeface="Calibri Light" panose="020F0302020204030204" pitchFamily="34" charset="0"/>
              </a:rPr>
              <a:t>Þá reiknast launaþróunartryggingin sem 1% af 300.000 kr. eða </a:t>
            </a:r>
            <a:r>
              <a:rPr lang="is-IS" sz="1400" b="1" dirty="0">
                <a:solidFill>
                  <a:schemeClr val="accent5"/>
                </a:solidFill>
                <a:latin typeface="+mj-lt"/>
              </a:rPr>
              <a:t>3.000 kr.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6F6F61C4-6FD7-428A-8FE4-37C221011B43}"/>
              </a:ext>
            </a:extLst>
          </p:cNvPr>
          <p:cNvSpPr txBox="1"/>
          <p:nvPr/>
        </p:nvSpPr>
        <p:spPr>
          <a:xfrm>
            <a:off x="7307263" y="4430712"/>
            <a:ext cx="3467100" cy="508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Þá munar u.þ.b. 1% </a:t>
            </a:r>
            <a:r>
              <a:rPr lang="is-IS" sz="1400" i="1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1,05/1,04=0,96%).</a:t>
            </a:r>
          </a:p>
          <a:p>
            <a:pPr marL="285750" indent="-28575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is-IS" sz="14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æsti taxtinn er t.d. 300.000 kr. á mánuði.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78F2B7F1-31A1-46A1-B263-76215012D4BA}"/>
              </a:ext>
            </a:extLst>
          </p:cNvPr>
          <p:cNvSpPr txBox="1"/>
          <p:nvPr/>
        </p:nvSpPr>
        <p:spPr>
          <a:xfrm>
            <a:off x="877093" y="1501775"/>
            <a:ext cx="5499100" cy="7694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is-IS" b="1" dirty="0">
                <a:solidFill>
                  <a:schemeClr val="accent3"/>
                </a:solidFill>
              </a:rPr>
              <a:t>Launaþróunartrygging</a:t>
            </a:r>
          </a:p>
          <a:p>
            <a:r>
              <a:rPr lang="is-IS" sz="1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Á árunum 2020-2022 reiknast ár hvert kauptaxtaauki vegna launaþróunar, að tilteknum skilyrðum uppfylltum.</a:t>
            </a:r>
            <a:endParaRPr lang="is-IS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05D6FD-32E8-48BF-87D4-8503EEA02317}"/>
              </a:ext>
            </a:extLst>
          </p:cNvPr>
          <p:cNvSpPr/>
          <p:nvPr/>
        </p:nvSpPr>
        <p:spPr>
          <a:xfrm>
            <a:off x="539749" y="5832475"/>
            <a:ext cx="2414588" cy="18415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is-IS" sz="1200" i="1" baseline="30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r>
              <a:rPr lang="is-IS" sz="12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leiðrétt með aðferð dr. </a:t>
            </a:r>
            <a:r>
              <a:rPr lang="is-IS" sz="1200" dirty="0" err="1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im</a:t>
            </a:r>
            <a:r>
              <a:rPr lang="is-IS" sz="12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is-IS" sz="1200" dirty="0" err="1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iechang</a:t>
            </a:r>
            <a:endParaRPr lang="is-IS" sz="1200" dirty="0">
              <a:solidFill>
                <a:schemeClr val="accent6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2B0F967-534D-4BEB-A541-3D8A11CED975}"/>
              </a:ext>
            </a:extLst>
          </p:cNvPr>
          <p:cNvSpPr/>
          <p:nvPr/>
        </p:nvSpPr>
        <p:spPr>
          <a:xfrm>
            <a:off x="877093" y="2423228"/>
            <a:ext cx="5517358" cy="28623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</a:pP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Útreikningur taxtaaukans byggist á samanburði launaþróunar skv. launavísitölu Hagstofu Íslands fyrir almennan vinnumarkað</a:t>
            </a:r>
            <a:r>
              <a:rPr lang="is-IS" sz="1600" baseline="30000" dirty="0"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við hlutfallslega breytingu hæsta virka launaflokks SGS.</a:t>
            </a:r>
            <a:r>
              <a:rPr lang="is-IS" sz="1600" baseline="30000" dirty="0"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</a:pP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Hækki launavísitalan meira en viðmiðunartaxtinn hækka allir kauptaxtar kjarasamninga um sömu krónutölu sem reiknast sem hlutfall umframhækkunarinnar af </a:t>
            </a:r>
            <a:b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framangreindum kauptaxta.</a:t>
            </a: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</a:pP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Útreikninga skal miða við breytingar</a:t>
            </a:r>
            <a:b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milli desembermánaða ár hvert</a:t>
            </a:r>
            <a:r>
              <a:rPr lang="is-IS" sz="1600" baseline="30000" dirty="0"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og</a:t>
            </a:r>
            <a:b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skal taxtaaukinn bætast við kauptaxta</a:t>
            </a:r>
            <a:b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is-I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frá 1. maí ár hvert.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E98ABA8-27FC-4907-ABED-D83BE937FEA6}"/>
              </a:ext>
            </a:extLst>
          </p:cNvPr>
          <p:cNvSpPr/>
          <p:nvPr/>
        </p:nvSpPr>
        <p:spPr>
          <a:xfrm>
            <a:off x="539750" y="6032500"/>
            <a:ext cx="850900" cy="18415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is-IS" sz="1200" i="1" baseline="30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r>
              <a:rPr lang="is-IS" sz="12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is-IS" sz="1200" dirty="0" err="1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fl</a:t>
            </a:r>
            <a:r>
              <a:rPr lang="is-IS" sz="12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 17 e. 5 ár</a:t>
            </a:r>
            <a:endParaRPr lang="is-IS" sz="1200" dirty="0">
              <a:solidFill>
                <a:schemeClr val="accent6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F9A4957-8431-4144-A76F-6C0D284AEB5C}"/>
              </a:ext>
            </a:extLst>
          </p:cNvPr>
          <p:cNvSpPr/>
          <p:nvPr/>
        </p:nvSpPr>
        <p:spPr>
          <a:xfrm>
            <a:off x="539750" y="6245225"/>
            <a:ext cx="2024063" cy="18415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is-IS" sz="1200" i="1" baseline="30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r>
              <a:rPr lang="is-IS" sz="12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fyrst m.v. des. 2018 – des. 2019</a:t>
            </a:r>
            <a:endParaRPr lang="is-IS" sz="1200" dirty="0">
              <a:solidFill>
                <a:schemeClr val="accent6"/>
              </a:solidFill>
            </a:endParaRPr>
          </a:p>
        </p:txBody>
      </p:sp>
      <p:grpSp>
        <p:nvGrpSpPr>
          <p:cNvPr id="3" name="Graphic 41" descr="Business Growth">
            <a:extLst>
              <a:ext uri="{FF2B5EF4-FFF2-40B4-BE49-F238E27FC236}">
                <a16:creationId xmlns:a16="http://schemas.microsoft.com/office/drawing/2014/main" id="{75373A97-057B-4C79-8E77-FC40602FB19E}"/>
              </a:ext>
            </a:extLst>
          </p:cNvPr>
          <p:cNvGrpSpPr/>
          <p:nvPr/>
        </p:nvGrpSpPr>
        <p:grpSpPr>
          <a:xfrm>
            <a:off x="4494242" y="3629025"/>
            <a:ext cx="2092295" cy="2092295"/>
            <a:chOff x="4775230" y="3910013"/>
            <a:chExt cx="1811307" cy="1811307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71FB2891-059A-4179-8F94-496FB53B3C9E}"/>
                </a:ext>
              </a:extLst>
            </p:cNvPr>
            <p:cNvSpPr/>
            <p:nvPr/>
          </p:nvSpPr>
          <p:spPr>
            <a:xfrm>
              <a:off x="4877411" y="4481058"/>
              <a:ext cx="1622629" cy="1056596"/>
            </a:xfrm>
            <a:custGeom>
              <a:avLst/>
              <a:gdLst>
                <a:gd name="connsiteX0" fmla="*/ 1294035 w 1622629"/>
                <a:gd name="connsiteY0" fmla="*/ 409136 h 1056595"/>
                <a:gd name="connsiteX1" fmla="*/ 1484600 w 1622629"/>
                <a:gd name="connsiteY1" fmla="*/ 218571 h 1056595"/>
                <a:gd name="connsiteX2" fmla="*/ 1595920 w 1622629"/>
                <a:gd name="connsiteY2" fmla="*/ 329891 h 1056595"/>
                <a:gd name="connsiteX3" fmla="*/ 1595920 w 1622629"/>
                <a:gd name="connsiteY3" fmla="*/ 28007 h 1056595"/>
                <a:gd name="connsiteX4" fmla="*/ 1294035 w 1622629"/>
                <a:gd name="connsiteY4" fmla="*/ 28007 h 1056595"/>
                <a:gd name="connsiteX5" fmla="*/ 1405355 w 1622629"/>
                <a:gd name="connsiteY5" fmla="*/ 139327 h 1056595"/>
                <a:gd name="connsiteX6" fmla="*/ 1218564 w 1622629"/>
                <a:gd name="connsiteY6" fmla="*/ 326118 h 1056595"/>
                <a:gd name="connsiteX7" fmla="*/ 897812 w 1622629"/>
                <a:gd name="connsiteY7" fmla="*/ 646870 h 1056595"/>
                <a:gd name="connsiteX8" fmla="*/ 614795 w 1622629"/>
                <a:gd name="connsiteY8" fmla="*/ 363853 h 1056595"/>
                <a:gd name="connsiteX9" fmla="*/ 28007 w 1622629"/>
                <a:gd name="connsiteY9" fmla="*/ 950641 h 1056595"/>
                <a:gd name="connsiteX10" fmla="*/ 107252 w 1622629"/>
                <a:gd name="connsiteY10" fmla="*/ 1029886 h 1056595"/>
                <a:gd name="connsiteX11" fmla="*/ 614795 w 1622629"/>
                <a:gd name="connsiteY11" fmla="*/ 522343 h 1056595"/>
                <a:gd name="connsiteX12" fmla="*/ 897812 w 1622629"/>
                <a:gd name="connsiteY12" fmla="*/ 805359 h 1056595"/>
                <a:gd name="connsiteX13" fmla="*/ 1294035 w 1622629"/>
                <a:gd name="connsiteY13" fmla="*/ 409136 h 1056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22629" h="1056595">
                  <a:moveTo>
                    <a:pt x="1294035" y="409136"/>
                  </a:moveTo>
                  <a:lnTo>
                    <a:pt x="1484600" y="218571"/>
                  </a:lnTo>
                  <a:lnTo>
                    <a:pt x="1595920" y="329891"/>
                  </a:lnTo>
                  <a:lnTo>
                    <a:pt x="1595920" y="28007"/>
                  </a:lnTo>
                  <a:lnTo>
                    <a:pt x="1294035" y="28007"/>
                  </a:lnTo>
                  <a:lnTo>
                    <a:pt x="1405355" y="139327"/>
                  </a:lnTo>
                  <a:lnTo>
                    <a:pt x="1218564" y="326118"/>
                  </a:lnTo>
                  <a:lnTo>
                    <a:pt x="897812" y="646870"/>
                  </a:lnTo>
                  <a:lnTo>
                    <a:pt x="614795" y="363853"/>
                  </a:lnTo>
                  <a:lnTo>
                    <a:pt x="28007" y="950641"/>
                  </a:lnTo>
                  <a:lnTo>
                    <a:pt x="107252" y="1029886"/>
                  </a:lnTo>
                  <a:lnTo>
                    <a:pt x="614795" y="522343"/>
                  </a:lnTo>
                  <a:lnTo>
                    <a:pt x="897812" y="805359"/>
                  </a:lnTo>
                  <a:lnTo>
                    <a:pt x="1294035" y="409136"/>
                  </a:lnTo>
                  <a:close/>
                </a:path>
              </a:pathLst>
            </a:custGeom>
            <a:solidFill>
              <a:schemeClr val="accent5"/>
            </a:solidFill>
            <a:ln w="18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49DBBB5B-F012-4827-8D5E-B8D36802FED8}"/>
                </a:ext>
              </a:extLst>
            </p:cNvPr>
            <p:cNvSpPr/>
            <p:nvPr/>
          </p:nvSpPr>
          <p:spPr>
            <a:xfrm>
              <a:off x="4992504" y="4165023"/>
              <a:ext cx="226413" cy="226413"/>
            </a:xfrm>
            <a:custGeom>
              <a:avLst/>
              <a:gdLst>
                <a:gd name="connsiteX0" fmla="*/ 216685 w 226413"/>
                <a:gd name="connsiteY0" fmla="*/ 122346 h 226413"/>
                <a:gd name="connsiteX1" fmla="*/ 122346 w 226413"/>
                <a:gd name="connsiteY1" fmla="*/ 216685 h 226413"/>
                <a:gd name="connsiteX2" fmla="*/ 28007 w 226413"/>
                <a:gd name="connsiteY2" fmla="*/ 122346 h 226413"/>
                <a:gd name="connsiteX3" fmla="*/ 122346 w 226413"/>
                <a:gd name="connsiteY3" fmla="*/ 28007 h 226413"/>
                <a:gd name="connsiteX4" fmla="*/ 216685 w 226413"/>
                <a:gd name="connsiteY4" fmla="*/ 122346 h 226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413" h="226413">
                  <a:moveTo>
                    <a:pt x="216685" y="122346"/>
                  </a:moveTo>
                  <a:cubicBezTo>
                    <a:pt x="216685" y="174448"/>
                    <a:pt x="174448" y="216685"/>
                    <a:pt x="122346" y="216685"/>
                  </a:cubicBezTo>
                  <a:cubicBezTo>
                    <a:pt x="70244" y="216685"/>
                    <a:pt x="28007" y="174448"/>
                    <a:pt x="28007" y="122346"/>
                  </a:cubicBezTo>
                  <a:cubicBezTo>
                    <a:pt x="28007" y="70244"/>
                    <a:pt x="70244" y="28007"/>
                    <a:pt x="122346" y="28007"/>
                  </a:cubicBezTo>
                  <a:cubicBezTo>
                    <a:pt x="174448" y="28007"/>
                    <a:pt x="216685" y="70244"/>
                    <a:pt x="216685" y="122346"/>
                  </a:cubicBezTo>
                  <a:close/>
                </a:path>
              </a:pathLst>
            </a:custGeom>
            <a:solidFill>
              <a:schemeClr val="accent3"/>
            </a:solidFill>
            <a:ln w="18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648DEFC-A630-460C-B21F-762FF4562F8B}"/>
                </a:ext>
              </a:extLst>
            </p:cNvPr>
            <p:cNvSpPr/>
            <p:nvPr/>
          </p:nvSpPr>
          <p:spPr>
            <a:xfrm>
              <a:off x="4860710" y="4372573"/>
              <a:ext cx="1245274" cy="849050"/>
            </a:xfrm>
            <a:custGeom>
              <a:avLst/>
              <a:gdLst>
                <a:gd name="connsiteX0" fmla="*/ 1163001 w 1245273"/>
                <a:gd name="connsiteY0" fmla="*/ 399886 h 849050"/>
                <a:gd name="connsiteX1" fmla="*/ 1181869 w 1245273"/>
                <a:gd name="connsiteY1" fmla="*/ 381018 h 849050"/>
                <a:gd name="connsiteX2" fmla="*/ 1225076 w 1245273"/>
                <a:gd name="connsiteY2" fmla="*/ 337811 h 849050"/>
                <a:gd name="connsiteX3" fmla="*/ 1172624 w 1245273"/>
                <a:gd name="connsiteY3" fmla="*/ 101964 h 849050"/>
                <a:gd name="connsiteX4" fmla="*/ 1159794 w 1245273"/>
                <a:gd name="connsiteY4" fmla="*/ 80832 h 849050"/>
                <a:gd name="connsiteX5" fmla="*/ 1084323 w 1245273"/>
                <a:gd name="connsiteY5" fmla="*/ 40644 h 849050"/>
                <a:gd name="connsiteX6" fmla="*/ 932248 w 1245273"/>
                <a:gd name="connsiteY6" fmla="*/ 40644 h 849050"/>
                <a:gd name="connsiteX7" fmla="*/ 856777 w 1245273"/>
                <a:gd name="connsiteY7" fmla="*/ 80832 h 849050"/>
                <a:gd name="connsiteX8" fmla="*/ 843947 w 1245273"/>
                <a:gd name="connsiteY8" fmla="*/ 101964 h 849050"/>
                <a:gd name="connsiteX9" fmla="*/ 820174 w 1245273"/>
                <a:gd name="connsiteY9" fmla="*/ 212529 h 849050"/>
                <a:gd name="connsiteX10" fmla="*/ 820174 w 1245273"/>
                <a:gd name="connsiteY10" fmla="*/ 212529 h 849050"/>
                <a:gd name="connsiteX11" fmla="*/ 795457 w 1245273"/>
                <a:gd name="connsiteY11" fmla="*/ 101964 h 849050"/>
                <a:gd name="connsiteX12" fmla="*/ 782438 w 1245273"/>
                <a:gd name="connsiteY12" fmla="*/ 80832 h 849050"/>
                <a:gd name="connsiteX13" fmla="*/ 706967 w 1245273"/>
                <a:gd name="connsiteY13" fmla="*/ 40644 h 849050"/>
                <a:gd name="connsiteX14" fmla="*/ 480554 w 1245273"/>
                <a:gd name="connsiteY14" fmla="*/ 80832 h 849050"/>
                <a:gd name="connsiteX15" fmla="*/ 467724 w 1245273"/>
                <a:gd name="connsiteY15" fmla="*/ 101964 h 849050"/>
                <a:gd name="connsiteX16" fmla="*/ 442818 w 1245273"/>
                <a:gd name="connsiteY16" fmla="*/ 208944 h 849050"/>
                <a:gd name="connsiteX17" fmla="*/ 442818 w 1245273"/>
                <a:gd name="connsiteY17" fmla="*/ 208944 h 849050"/>
                <a:gd name="connsiteX18" fmla="*/ 418290 w 1245273"/>
                <a:gd name="connsiteY18" fmla="*/ 101964 h 849050"/>
                <a:gd name="connsiteX19" fmla="*/ 405082 w 1245273"/>
                <a:gd name="connsiteY19" fmla="*/ 80832 h 849050"/>
                <a:gd name="connsiteX20" fmla="*/ 329611 w 1245273"/>
                <a:gd name="connsiteY20" fmla="*/ 40644 h 849050"/>
                <a:gd name="connsiteX21" fmla="*/ 177537 w 1245273"/>
                <a:gd name="connsiteY21" fmla="*/ 40644 h 849050"/>
                <a:gd name="connsiteX22" fmla="*/ 102066 w 1245273"/>
                <a:gd name="connsiteY22" fmla="*/ 80832 h 849050"/>
                <a:gd name="connsiteX23" fmla="*/ 89236 w 1245273"/>
                <a:gd name="connsiteY23" fmla="*/ 101964 h 849050"/>
                <a:gd name="connsiteX24" fmla="*/ 29236 w 1245273"/>
                <a:gd name="connsiteY24" fmla="*/ 375924 h 849050"/>
                <a:gd name="connsiteX25" fmla="*/ 57717 w 1245273"/>
                <a:gd name="connsiteY25" fmla="*/ 423871 h 849050"/>
                <a:gd name="connsiteX26" fmla="*/ 59236 w 1245273"/>
                <a:gd name="connsiteY26" fmla="*/ 424226 h 849050"/>
                <a:gd name="connsiteX27" fmla="*/ 65462 w 1245273"/>
                <a:gd name="connsiteY27" fmla="*/ 424226 h 849050"/>
                <a:gd name="connsiteX28" fmla="*/ 103198 w 1245273"/>
                <a:gd name="connsiteY28" fmla="*/ 394603 h 849050"/>
                <a:gd name="connsiteX29" fmla="*/ 159801 w 1245273"/>
                <a:gd name="connsiteY29" fmla="*/ 141209 h 849050"/>
                <a:gd name="connsiteX30" fmla="*/ 159801 w 1245273"/>
                <a:gd name="connsiteY30" fmla="*/ 141209 h 849050"/>
                <a:gd name="connsiteX31" fmla="*/ 159801 w 1245273"/>
                <a:gd name="connsiteY31" fmla="*/ 275170 h 849050"/>
                <a:gd name="connsiteX32" fmla="*/ 103198 w 1245273"/>
                <a:gd name="connsiteY32" fmla="*/ 556300 h 849050"/>
                <a:gd name="connsiteX33" fmla="*/ 159801 w 1245273"/>
                <a:gd name="connsiteY33" fmla="*/ 556300 h 849050"/>
                <a:gd name="connsiteX34" fmla="*/ 159801 w 1245273"/>
                <a:gd name="connsiteY34" fmla="*/ 837241 h 849050"/>
                <a:gd name="connsiteX35" fmla="*/ 235272 w 1245273"/>
                <a:gd name="connsiteY35" fmla="*/ 761770 h 849050"/>
                <a:gd name="connsiteX36" fmla="*/ 235272 w 1245273"/>
                <a:gd name="connsiteY36" fmla="*/ 556300 h 849050"/>
                <a:gd name="connsiteX37" fmla="*/ 273008 w 1245273"/>
                <a:gd name="connsiteY37" fmla="*/ 556300 h 849050"/>
                <a:gd name="connsiteX38" fmla="*/ 273008 w 1245273"/>
                <a:gd name="connsiteY38" fmla="*/ 724035 h 849050"/>
                <a:gd name="connsiteX39" fmla="*/ 348479 w 1245273"/>
                <a:gd name="connsiteY39" fmla="*/ 648563 h 849050"/>
                <a:gd name="connsiteX40" fmla="*/ 348479 w 1245273"/>
                <a:gd name="connsiteY40" fmla="*/ 556300 h 849050"/>
                <a:gd name="connsiteX41" fmla="*/ 405082 w 1245273"/>
                <a:gd name="connsiteY41" fmla="*/ 556300 h 849050"/>
                <a:gd name="connsiteX42" fmla="*/ 348479 w 1245273"/>
                <a:gd name="connsiteY42" fmla="*/ 275359 h 849050"/>
                <a:gd name="connsiteX43" fmla="*/ 348479 w 1245273"/>
                <a:gd name="connsiteY43" fmla="*/ 143284 h 849050"/>
                <a:gd name="connsiteX44" fmla="*/ 348479 w 1245273"/>
                <a:gd name="connsiteY44" fmla="*/ 143284 h 849050"/>
                <a:gd name="connsiteX45" fmla="*/ 405082 w 1245273"/>
                <a:gd name="connsiteY45" fmla="*/ 389697 h 849050"/>
                <a:gd name="connsiteX46" fmla="*/ 442818 w 1245273"/>
                <a:gd name="connsiteY46" fmla="*/ 424226 h 849050"/>
                <a:gd name="connsiteX47" fmla="*/ 442818 w 1245273"/>
                <a:gd name="connsiteY47" fmla="*/ 424226 h 849050"/>
                <a:gd name="connsiteX48" fmla="*/ 479422 w 1245273"/>
                <a:gd name="connsiteY48" fmla="*/ 394603 h 849050"/>
                <a:gd name="connsiteX49" fmla="*/ 480554 w 1245273"/>
                <a:gd name="connsiteY49" fmla="*/ 386490 h 849050"/>
                <a:gd name="connsiteX50" fmla="*/ 535648 w 1245273"/>
                <a:gd name="connsiteY50" fmla="*/ 144416 h 849050"/>
                <a:gd name="connsiteX51" fmla="*/ 535648 w 1245273"/>
                <a:gd name="connsiteY51" fmla="*/ 144416 h 849050"/>
                <a:gd name="connsiteX52" fmla="*/ 535648 w 1245273"/>
                <a:gd name="connsiteY52" fmla="*/ 460829 h 849050"/>
                <a:gd name="connsiteX53" fmla="*/ 577345 w 1245273"/>
                <a:gd name="connsiteY53" fmla="*/ 418943 h 849050"/>
                <a:gd name="connsiteX54" fmla="*/ 684079 w 1245273"/>
                <a:gd name="connsiteY54" fmla="*/ 418884 h 849050"/>
                <a:gd name="connsiteX55" fmla="*/ 684137 w 1245273"/>
                <a:gd name="connsiteY55" fmla="*/ 418943 h 849050"/>
                <a:gd name="connsiteX56" fmla="*/ 725835 w 1245273"/>
                <a:gd name="connsiteY56" fmla="*/ 459131 h 849050"/>
                <a:gd name="connsiteX57" fmla="*/ 725835 w 1245273"/>
                <a:gd name="connsiteY57" fmla="*/ 144605 h 849050"/>
                <a:gd name="connsiteX58" fmla="*/ 725835 w 1245273"/>
                <a:gd name="connsiteY58" fmla="*/ 144605 h 849050"/>
                <a:gd name="connsiteX59" fmla="*/ 782438 w 1245273"/>
                <a:gd name="connsiteY59" fmla="*/ 394792 h 849050"/>
                <a:gd name="connsiteX60" fmla="*/ 820174 w 1245273"/>
                <a:gd name="connsiteY60" fmla="*/ 424226 h 849050"/>
                <a:gd name="connsiteX61" fmla="*/ 820174 w 1245273"/>
                <a:gd name="connsiteY61" fmla="*/ 424226 h 849050"/>
                <a:gd name="connsiteX62" fmla="*/ 856966 w 1245273"/>
                <a:gd name="connsiteY62" fmla="*/ 394603 h 849050"/>
                <a:gd name="connsiteX63" fmla="*/ 913569 w 1245273"/>
                <a:gd name="connsiteY63" fmla="*/ 144416 h 849050"/>
                <a:gd name="connsiteX64" fmla="*/ 913569 w 1245273"/>
                <a:gd name="connsiteY64" fmla="*/ 144416 h 849050"/>
                <a:gd name="connsiteX65" fmla="*/ 913569 w 1245273"/>
                <a:gd name="connsiteY65" fmla="*/ 648186 h 849050"/>
                <a:gd name="connsiteX66" fmla="*/ 913569 w 1245273"/>
                <a:gd name="connsiteY66" fmla="*/ 648186 h 849050"/>
                <a:gd name="connsiteX67" fmla="*/ 989040 w 1245273"/>
                <a:gd name="connsiteY67" fmla="*/ 572715 h 849050"/>
                <a:gd name="connsiteX68" fmla="*/ 989040 w 1245273"/>
                <a:gd name="connsiteY68" fmla="*/ 443093 h 849050"/>
                <a:gd name="connsiteX69" fmla="*/ 1026776 w 1245273"/>
                <a:gd name="connsiteY69" fmla="*/ 443093 h 849050"/>
                <a:gd name="connsiteX70" fmla="*/ 1026776 w 1245273"/>
                <a:gd name="connsiteY70" fmla="*/ 535734 h 849050"/>
                <a:gd name="connsiteX71" fmla="*/ 1102247 w 1245273"/>
                <a:gd name="connsiteY71" fmla="*/ 460263 h 849050"/>
                <a:gd name="connsiteX72" fmla="*/ 1102247 w 1245273"/>
                <a:gd name="connsiteY72" fmla="*/ 144605 h 849050"/>
                <a:gd name="connsiteX73" fmla="*/ 1102247 w 1245273"/>
                <a:gd name="connsiteY73" fmla="*/ 144605 h 849050"/>
                <a:gd name="connsiteX74" fmla="*/ 1161681 w 1245273"/>
                <a:gd name="connsiteY74" fmla="*/ 400075 h 84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245273" h="849050">
                  <a:moveTo>
                    <a:pt x="1163001" y="399886"/>
                  </a:moveTo>
                  <a:lnTo>
                    <a:pt x="1181869" y="381018"/>
                  </a:lnTo>
                  <a:lnTo>
                    <a:pt x="1225076" y="337811"/>
                  </a:lnTo>
                  <a:lnTo>
                    <a:pt x="1172624" y="101964"/>
                  </a:lnTo>
                  <a:cubicBezTo>
                    <a:pt x="1171020" y="93609"/>
                    <a:pt x="1166465" y="86109"/>
                    <a:pt x="1159794" y="80832"/>
                  </a:cubicBezTo>
                  <a:cubicBezTo>
                    <a:pt x="1137196" y="63100"/>
                    <a:pt x="1111647" y="49496"/>
                    <a:pt x="1084323" y="40644"/>
                  </a:cubicBezTo>
                  <a:cubicBezTo>
                    <a:pt x="1035031" y="23795"/>
                    <a:pt x="981540" y="23795"/>
                    <a:pt x="932248" y="40644"/>
                  </a:cubicBezTo>
                  <a:cubicBezTo>
                    <a:pt x="904932" y="49517"/>
                    <a:pt x="879386" y="63121"/>
                    <a:pt x="856777" y="80832"/>
                  </a:cubicBezTo>
                  <a:cubicBezTo>
                    <a:pt x="850249" y="86236"/>
                    <a:pt x="845730" y="93679"/>
                    <a:pt x="843947" y="101964"/>
                  </a:cubicBezTo>
                  <a:lnTo>
                    <a:pt x="820174" y="212529"/>
                  </a:lnTo>
                  <a:lnTo>
                    <a:pt x="820174" y="212529"/>
                  </a:lnTo>
                  <a:lnTo>
                    <a:pt x="795457" y="101964"/>
                  </a:lnTo>
                  <a:cubicBezTo>
                    <a:pt x="793727" y="93613"/>
                    <a:pt x="789119" y="86134"/>
                    <a:pt x="782438" y="80832"/>
                  </a:cubicBezTo>
                  <a:cubicBezTo>
                    <a:pt x="759840" y="63100"/>
                    <a:pt x="734291" y="49496"/>
                    <a:pt x="706967" y="40644"/>
                  </a:cubicBezTo>
                  <a:cubicBezTo>
                    <a:pt x="629503" y="15642"/>
                    <a:pt x="544681" y="30696"/>
                    <a:pt x="480554" y="80832"/>
                  </a:cubicBezTo>
                  <a:cubicBezTo>
                    <a:pt x="474025" y="86236"/>
                    <a:pt x="469507" y="93679"/>
                    <a:pt x="467724" y="101964"/>
                  </a:cubicBezTo>
                  <a:lnTo>
                    <a:pt x="442818" y="208944"/>
                  </a:lnTo>
                  <a:cubicBezTo>
                    <a:pt x="442818" y="208944"/>
                    <a:pt x="442818" y="208944"/>
                    <a:pt x="442818" y="208944"/>
                  </a:cubicBezTo>
                  <a:lnTo>
                    <a:pt x="418290" y="101964"/>
                  </a:lnTo>
                  <a:cubicBezTo>
                    <a:pt x="416407" y="93628"/>
                    <a:pt x="411750" y="86177"/>
                    <a:pt x="405082" y="80832"/>
                  </a:cubicBezTo>
                  <a:cubicBezTo>
                    <a:pt x="382473" y="63121"/>
                    <a:pt x="356928" y="49517"/>
                    <a:pt x="329611" y="40644"/>
                  </a:cubicBezTo>
                  <a:cubicBezTo>
                    <a:pt x="280319" y="23795"/>
                    <a:pt x="226829" y="23795"/>
                    <a:pt x="177537" y="40644"/>
                  </a:cubicBezTo>
                  <a:cubicBezTo>
                    <a:pt x="150237" y="49557"/>
                    <a:pt x="124700" y="63157"/>
                    <a:pt x="102066" y="80832"/>
                  </a:cubicBezTo>
                  <a:cubicBezTo>
                    <a:pt x="95538" y="86236"/>
                    <a:pt x="91018" y="93679"/>
                    <a:pt x="89236" y="101964"/>
                  </a:cubicBezTo>
                  <a:lnTo>
                    <a:pt x="29236" y="375924"/>
                  </a:lnTo>
                  <a:cubicBezTo>
                    <a:pt x="23861" y="397030"/>
                    <a:pt x="36612" y="418495"/>
                    <a:pt x="57717" y="423871"/>
                  </a:cubicBezTo>
                  <a:cubicBezTo>
                    <a:pt x="58221" y="423999"/>
                    <a:pt x="58727" y="424118"/>
                    <a:pt x="59236" y="424226"/>
                  </a:cubicBezTo>
                  <a:cubicBezTo>
                    <a:pt x="61307" y="424412"/>
                    <a:pt x="63391" y="424412"/>
                    <a:pt x="65462" y="424226"/>
                  </a:cubicBezTo>
                  <a:cubicBezTo>
                    <a:pt x="83506" y="424646"/>
                    <a:pt x="99322" y="412231"/>
                    <a:pt x="103198" y="394603"/>
                  </a:cubicBezTo>
                  <a:lnTo>
                    <a:pt x="159801" y="141209"/>
                  </a:lnTo>
                  <a:lnTo>
                    <a:pt x="159801" y="141209"/>
                  </a:lnTo>
                  <a:lnTo>
                    <a:pt x="159801" y="275170"/>
                  </a:lnTo>
                  <a:lnTo>
                    <a:pt x="103198" y="556300"/>
                  </a:lnTo>
                  <a:lnTo>
                    <a:pt x="159801" y="556300"/>
                  </a:lnTo>
                  <a:lnTo>
                    <a:pt x="159801" y="837241"/>
                  </a:lnTo>
                  <a:lnTo>
                    <a:pt x="235272" y="761770"/>
                  </a:lnTo>
                  <a:lnTo>
                    <a:pt x="235272" y="556300"/>
                  </a:lnTo>
                  <a:lnTo>
                    <a:pt x="273008" y="556300"/>
                  </a:lnTo>
                  <a:lnTo>
                    <a:pt x="273008" y="724035"/>
                  </a:lnTo>
                  <a:lnTo>
                    <a:pt x="348479" y="648563"/>
                  </a:lnTo>
                  <a:lnTo>
                    <a:pt x="348479" y="556300"/>
                  </a:lnTo>
                  <a:lnTo>
                    <a:pt x="405082" y="556300"/>
                  </a:lnTo>
                  <a:lnTo>
                    <a:pt x="348479" y="275359"/>
                  </a:lnTo>
                  <a:lnTo>
                    <a:pt x="348479" y="143284"/>
                  </a:lnTo>
                  <a:lnTo>
                    <a:pt x="348479" y="143284"/>
                  </a:lnTo>
                  <a:lnTo>
                    <a:pt x="405082" y="389697"/>
                  </a:lnTo>
                  <a:cubicBezTo>
                    <a:pt x="406752" y="409277"/>
                    <a:pt x="423169" y="424297"/>
                    <a:pt x="442818" y="424226"/>
                  </a:cubicBezTo>
                  <a:lnTo>
                    <a:pt x="442818" y="424226"/>
                  </a:lnTo>
                  <a:cubicBezTo>
                    <a:pt x="460439" y="424109"/>
                    <a:pt x="475633" y="411812"/>
                    <a:pt x="479422" y="394603"/>
                  </a:cubicBezTo>
                  <a:lnTo>
                    <a:pt x="480554" y="386490"/>
                  </a:lnTo>
                  <a:lnTo>
                    <a:pt x="535648" y="144416"/>
                  </a:lnTo>
                  <a:cubicBezTo>
                    <a:pt x="535648" y="144416"/>
                    <a:pt x="535648" y="144416"/>
                    <a:pt x="535648" y="144416"/>
                  </a:cubicBezTo>
                  <a:lnTo>
                    <a:pt x="535648" y="460829"/>
                  </a:lnTo>
                  <a:lnTo>
                    <a:pt x="577345" y="418943"/>
                  </a:lnTo>
                  <a:cubicBezTo>
                    <a:pt x="606802" y="389452"/>
                    <a:pt x="654588" y="389426"/>
                    <a:pt x="684079" y="418884"/>
                  </a:cubicBezTo>
                  <a:cubicBezTo>
                    <a:pt x="684097" y="418903"/>
                    <a:pt x="684118" y="418924"/>
                    <a:pt x="684137" y="418943"/>
                  </a:cubicBezTo>
                  <a:lnTo>
                    <a:pt x="725835" y="459131"/>
                  </a:lnTo>
                  <a:lnTo>
                    <a:pt x="725835" y="144605"/>
                  </a:lnTo>
                  <a:cubicBezTo>
                    <a:pt x="725835" y="144605"/>
                    <a:pt x="725835" y="144605"/>
                    <a:pt x="725835" y="144605"/>
                  </a:cubicBezTo>
                  <a:lnTo>
                    <a:pt x="782438" y="394792"/>
                  </a:lnTo>
                  <a:cubicBezTo>
                    <a:pt x="786391" y="412345"/>
                    <a:pt x="802187" y="424665"/>
                    <a:pt x="820174" y="424226"/>
                  </a:cubicBezTo>
                  <a:lnTo>
                    <a:pt x="820174" y="424226"/>
                  </a:lnTo>
                  <a:cubicBezTo>
                    <a:pt x="837866" y="424197"/>
                    <a:pt x="853162" y="411880"/>
                    <a:pt x="856966" y="394603"/>
                  </a:cubicBezTo>
                  <a:lnTo>
                    <a:pt x="913569" y="144416"/>
                  </a:lnTo>
                  <a:cubicBezTo>
                    <a:pt x="913569" y="144416"/>
                    <a:pt x="913569" y="144416"/>
                    <a:pt x="913569" y="144416"/>
                  </a:cubicBezTo>
                  <a:lnTo>
                    <a:pt x="913569" y="648186"/>
                  </a:lnTo>
                  <a:lnTo>
                    <a:pt x="913569" y="648186"/>
                  </a:lnTo>
                  <a:lnTo>
                    <a:pt x="989040" y="572715"/>
                  </a:lnTo>
                  <a:lnTo>
                    <a:pt x="989040" y="443093"/>
                  </a:lnTo>
                  <a:lnTo>
                    <a:pt x="1026776" y="443093"/>
                  </a:lnTo>
                  <a:lnTo>
                    <a:pt x="1026776" y="535734"/>
                  </a:lnTo>
                  <a:lnTo>
                    <a:pt x="1102247" y="460263"/>
                  </a:lnTo>
                  <a:lnTo>
                    <a:pt x="1102247" y="144605"/>
                  </a:lnTo>
                  <a:cubicBezTo>
                    <a:pt x="1102247" y="144605"/>
                    <a:pt x="1102247" y="144605"/>
                    <a:pt x="1102247" y="144605"/>
                  </a:cubicBezTo>
                  <a:lnTo>
                    <a:pt x="1161681" y="400075"/>
                  </a:lnTo>
                  <a:close/>
                </a:path>
              </a:pathLst>
            </a:custGeom>
            <a:solidFill>
              <a:schemeClr val="accent3"/>
            </a:solidFill>
            <a:ln w="18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4F65D30-0A54-4942-8C1F-D2DC400CE153}"/>
                </a:ext>
              </a:extLst>
            </p:cNvPr>
            <p:cNvSpPr/>
            <p:nvPr/>
          </p:nvSpPr>
          <p:spPr>
            <a:xfrm>
              <a:off x="5747027" y="4165023"/>
              <a:ext cx="226413" cy="226413"/>
            </a:xfrm>
            <a:custGeom>
              <a:avLst/>
              <a:gdLst>
                <a:gd name="connsiteX0" fmla="*/ 216685 w 226413"/>
                <a:gd name="connsiteY0" fmla="*/ 122346 h 226413"/>
                <a:gd name="connsiteX1" fmla="*/ 122346 w 226413"/>
                <a:gd name="connsiteY1" fmla="*/ 216685 h 226413"/>
                <a:gd name="connsiteX2" fmla="*/ 28007 w 226413"/>
                <a:gd name="connsiteY2" fmla="*/ 122346 h 226413"/>
                <a:gd name="connsiteX3" fmla="*/ 122346 w 226413"/>
                <a:gd name="connsiteY3" fmla="*/ 28007 h 226413"/>
                <a:gd name="connsiteX4" fmla="*/ 216685 w 226413"/>
                <a:gd name="connsiteY4" fmla="*/ 122346 h 226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413" h="226413">
                  <a:moveTo>
                    <a:pt x="216685" y="122346"/>
                  </a:moveTo>
                  <a:cubicBezTo>
                    <a:pt x="216685" y="174448"/>
                    <a:pt x="174448" y="216685"/>
                    <a:pt x="122346" y="216685"/>
                  </a:cubicBezTo>
                  <a:cubicBezTo>
                    <a:pt x="70244" y="216685"/>
                    <a:pt x="28007" y="174448"/>
                    <a:pt x="28007" y="122346"/>
                  </a:cubicBezTo>
                  <a:cubicBezTo>
                    <a:pt x="28007" y="70244"/>
                    <a:pt x="70244" y="28007"/>
                    <a:pt x="122346" y="28007"/>
                  </a:cubicBezTo>
                  <a:cubicBezTo>
                    <a:pt x="174448" y="28007"/>
                    <a:pt x="216685" y="70244"/>
                    <a:pt x="216685" y="122346"/>
                  </a:cubicBezTo>
                  <a:close/>
                </a:path>
              </a:pathLst>
            </a:custGeom>
            <a:solidFill>
              <a:schemeClr val="accent3"/>
            </a:solidFill>
            <a:ln w="18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5469367-59DE-46D1-98EB-E9A462791337}"/>
                </a:ext>
              </a:extLst>
            </p:cNvPr>
            <p:cNvSpPr/>
            <p:nvPr/>
          </p:nvSpPr>
          <p:spPr>
            <a:xfrm>
              <a:off x="5369105" y="4165023"/>
              <a:ext cx="226413" cy="226413"/>
            </a:xfrm>
            <a:custGeom>
              <a:avLst/>
              <a:gdLst>
                <a:gd name="connsiteX0" fmla="*/ 216685 w 226413"/>
                <a:gd name="connsiteY0" fmla="*/ 122346 h 226413"/>
                <a:gd name="connsiteX1" fmla="*/ 122346 w 226413"/>
                <a:gd name="connsiteY1" fmla="*/ 216685 h 226413"/>
                <a:gd name="connsiteX2" fmla="*/ 28007 w 226413"/>
                <a:gd name="connsiteY2" fmla="*/ 122346 h 226413"/>
                <a:gd name="connsiteX3" fmla="*/ 122346 w 226413"/>
                <a:gd name="connsiteY3" fmla="*/ 28007 h 226413"/>
                <a:gd name="connsiteX4" fmla="*/ 216685 w 226413"/>
                <a:gd name="connsiteY4" fmla="*/ 122346 h 226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413" h="226413">
                  <a:moveTo>
                    <a:pt x="216685" y="122346"/>
                  </a:moveTo>
                  <a:cubicBezTo>
                    <a:pt x="216685" y="174448"/>
                    <a:pt x="174448" y="216685"/>
                    <a:pt x="122346" y="216685"/>
                  </a:cubicBezTo>
                  <a:cubicBezTo>
                    <a:pt x="70244" y="216685"/>
                    <a:pt x="28007" y="174448"/>
                    <a:pt x="28007" y="122346"/>
                  </a:cubicBezTo>
                  <a:cubicBezTo>
                    <a:pt x="28007" y="70244"/>
                    <a:pt x="70244" y="28007"/>
                    <a:pt x="122346" y="28007"/>
                  </a:cubicBezTo>
                  <a:cubicBezTo>
                    <a:pt x="174448" y="28007"/>
                    <a:pt x="216685" y="70244"/>
                    <a:pt x="216685" y="122346"/>
                  </a:cubicBezTo>
                  <a:close/>
                </a:path>
              </a:pathLst>
            </a:custGeom>
            <a:solidFill>
              <a:schemeClr val="accent3"/>
            </a:solidFill>
            <a:ln w="188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is-IS"/>
            </a:p>
          </p:txBody>
        </p:sp>
      </p:grpSp>
    </p:spTree>
    <p:extLst>
      <p:ext uri="{BB962C8B-B14F-4D97-AF65-F5344CB8AC3E}">
        <p14:creationId xmlns:p14="http://schemas.microsoft.com/office/powerpoint/2010/main" val="1662261506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08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 %1 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m/%Y&lt;/m_strFormatTime&gt;&lt;m_yearfmt&gt;&lt;begin val=&quot;2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6.46481523439565641809E+00&quot;&gt;&lt;m_msothmcolidx val=&quot;0&quot;/&gt;&lt;m_rgb r=&quot;CC&quot; g=&quot;EC&quot; b=&quot;FF&quot;/&gt;&lt;m_nBrightness tagver0=&quot;26206&quot; tagname0=&quot;m_nBrightnessUNRECOGNIZED&quot; val=&quot;0&quot;/&gt;&lt;/elem&gt;&lt;elem m_fUsage=&quot;3.40215681913143574988E+00&quot;&gt;&lt;m_msothmcolidx val=&quot;0&quot;/&gt;&lt;m_rgb r=&quot;FA&quot; g=&quot;BE&quot; b=&quot;6E&quot;/&gt;&lt;m_nBrightness tagver0=&quot;26206&quot; tagname0=&quot;m_nBrightnessUNRECOGNIZED&quot; val=&quot;0&quot;/&gt;&lt;/elem&gt;&lt;elem m_fUsage=&quot;2.52753098298531646282E-02&quot;&gt;&lt;m_msothmcolidx val=&quot;0&quot;/&gt;&lt;m_rgb r=&quot;9D&quot; g=&quot;2F&quot; b=&quot;37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6jhhiRC2TttpOogKC0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cO0jjLSxGdF2jQdsq7L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VcWInaQpGf5UZ2whaqg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PTbyxlTlKvvhjsIiK2t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VcWInaQpGf5UZ2whaqg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VcWInaQpGf5UZ2whaqg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o_25ypQ2CD3gG1sdFZp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hdQ978Rmilf402up7Yh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9saTRLRzS_gqKWBadLR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zJOR_3RSiVp41eLehOO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rqtzCwRp6NwovRl8PgT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6qEUKMTPuFQ4lZ0bWEE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ibFYbSS_aInLYh5EF7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LYEkHnRXWg5jjTZ.RQc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6aJP0ITXGTJgs27HUWA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f4At1GSDyipJJ2sb6Yb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OVTO0tS5qw0rH5LwpKk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sW9wr_Qf.YQ16FnlLhJ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zbUJXRS8Oszl8Q6T5tz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gA_T0PTSqF8UesWWxA8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mM2RhpQWyvJjuh7pgmv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d60MClQTi.TkebeloJg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unmuHYSdGzL7ad_5vo0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rd__tYTYOFAP9ff_A1x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_Pubq5TG6uHrT_YfbVO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5fd9eVTe6yyVS4nhaZo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xVA2A0R9qL2YXlm2Ix6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eu3FOIRjyPcm.hMPaD4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no0PB3SfexIpqS9dk2D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PTbyxlTlKvvhjsIiK2t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DW_R9HTsOcbfZMKTSmZ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p0EX8ASESBdOS8Ei76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SDoDgRaSBkxfq1g52I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LjYIvuR3GCiGyCNXOom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UW8aP5TN2MHdEQI8fiU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Qi3J9DQNeoQieLKhMdg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7CEXkqROGLE0C7SKPK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6Ce_juTZ.ASZhyi7k72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T8yylUQJCInYq15D07n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r47MMwRnCOcteides.R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lMgtfVRQKye1DbpyeA2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VgHXADRKi66EuVDEZq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zp80AJRNi1GkXkQ7Fi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9gonNKQHmQAZIM9H2aZ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GpwobuTv.3VNV6_WSTd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UpGoWERuiZHV23kMikW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ss3uHPR_qefMubb8OR9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iLENVNS9i5_uZTAjTU6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yQ2GexwE6dnGzhnLfu3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PTbyxlTlKvvhjsIiK2t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QJFeFsTxmOV2u7At_qH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iRbT5UTZuyRKfZ1qic6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d06bWuT.KwocB6hKwI9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7PmegiTbegxtwYZbA7X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cOZtZXSNe.0VGZhuluE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jjTNGxTxy6bfOFIWUEf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TKAsvKRiu0DF6uMowuD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aoea1FSGaiAxULQskMS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0tcv8cSga60pHspbr3g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dtMZ_BSyC3WotKxndHs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aRRGRqQ8mh4SDqETh_6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irNeXvRHeFu2eqxVoL2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J9TMIRZ6Y8Ffgv96xT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SwwTqTTKA2eQMWnNRI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TFZ7jPQRGBuxyQCnMNp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daqzgMThOT8rWYemb5C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l2OMGJRQyaM5V5tvsGV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fD5hehQjKFY9PGZgs7q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TzaJUdTYSsR3wwF82Qx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UifxwwRXOVmWEOQ4MC8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MuS1QpR.2l2JyZXYJp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vLjlZZTsW5XL6elPMoN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b_f7ZJQxiXjV9ky_rEb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XknX6wQaaP7yKBwmoze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Z6cdutSea4CrZrLe.EH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82iaUmRTiOwh3yHZjO7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pdhyxuTCm_52du4o.DY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MemOiuToimXa22qg950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4QfDHSTVSVCMiufeRc7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t._k4gSfiuTXIx4ho0K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xDdsPSTRSKQC6eTFPB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PS5kdcTFWyKJ2o9TKT5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ovItR5TyWNeMPjqIjeg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QxOtgtQIConatdT62Jg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_9_gWkTYWAwwTSfarzR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4Y.pwqRcioMuW87s_ts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JqwL3WQoCmt79rG3Ako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J8QdlKRESBRtaN8qvnn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AB0eySQRKTt7fQeSwon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_jJIAeTEyAF77iMZXzO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Z8oV4.Te.EvGDACUGq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9UdsndRGOc99aFub26r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YF2Hu.QByCGIxOKkd86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V0y4_tQB6Zs_o7YCv96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k9vjFaTwqCad2MCgk3s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npKPaNQvCAJ5vTw.xFy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Go233YTDifHXIZLlkvg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RjHVQCRlGuXTbWQR6sb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SDoDgRaSBkxfq1g52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VcWInaQpGf5UZ2whaq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AZb9guSEu4wBPnSSWA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u3ZbzTQHaKdVxav6Wq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IbZs2Tkat7VL9bn23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e5YiIQXukfUP23x3gG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6zBnqQSNi8AYvV2uap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YKgamFRiatN1f5sPGf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m_4MXaSbawDnd3qAi5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5YacCRQgCxEm4rEX0lG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gVNBO8TjifBXBD0mEO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QQbLkbSie9PjV5xwMcp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xjJ_53Rx.LuYEVqyo7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qskfemSGWkui1_HN2a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VcWInaQpGf5UZ2whaq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iRzSf0RD6wFJro9.57c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_pbf8FSouHygMFmIG9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keiHfxQTuHen42vZlvx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6zBnqQSNi8AYvV2uap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e5YiIQXukfUP23x3gG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IbZs2Tkat7VL9bn23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wCLNOKS6CRRWVorDBkD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5YacCRQgCxEm4rEX0lG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OtpS1tRQO5swBC.39VB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4Ts0RfR6.vWqrEn5Umh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fnObhpTTeKWwkZiwDp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neWeVtT4Cp9pkjmaHO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j54GEcQeC.Z6G1YydNO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i_zpYwTGuX1_EQsZRTv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qd3JowRlmkdJ4kkYq_p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_tCMToT.G05RxXtnNwt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WNswgRhObGkVj_uSDc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fYlE.nQpm1CsYbAPZR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gB9V_wTNuWuIsNiFjJB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VcWInaQpGf5UZ2whaq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95K36eQV2Mpddts3RcG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mjdnEESRSo4hYEowG59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7Jbu1PT1aIGJTwghuy5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8fCQm6Speyx.rfvQRR3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oQihvZR32Ipb02Omhrj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OvHjaBQlaCA9esyAlJ8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kh0F6QQPSfp9APgACe2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sQbaS3QdSu.G4hHjUT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B8sjjkT8OPNw3t4y9k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WzvAbfSsa.G845w3CNi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VcWInaQpGf5UZ2whaqg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VH2HtOQpeRZ6lxfbxGi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q_tctdRlieELB4UCNmC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1oTJ6JTjmUTjiaNUlKP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8rbHvrSXiBUHJTIZ4YG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e5YiIQXukfUP23x3gG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QHFUCrTGOZWvaUG3hsp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bxIrklRGG_hqE9bPhxM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WUMzzTmq0Yw8Jc98NW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PTbyxlTlKvvhjsIiK2t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HeP67ZSrOCelJZ9FJ2d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yGvNUTy.IT2QTfo9du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ZT9zuESv6XfzhTCXrlv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ha2qZsTRq6KQ9d4DGjt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unaz.2SS2J4KSWmSWGn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3o7kOFTpuQXfhZQQRY9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VfcM4qTiyxAYMDBSY5C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QAQ5_fTyuqMNdai351s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Q1JcFiR6SPza.HP3Xklg"/>
</p:tagLst>
</file>

<file path=ppt/theme/theme1.xml><?xml version="1.0" encoding="utf-8"?>
<a:theme xmlns:a="http://schemas.openxmlformats.org/drawingml/2006/main" name="Efnahagssvið SA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6DBDC"/>
      </a:accent1>
      <a:accent2>
        <a:srgbClr val="8E9ACE"/>
      </a:accent2>
      <a:accent3>
        <a:srgbClr val="39488E"/>
      </a:accent3>
      <a:accent4>
        <a:srgbClr val="C72127"/>
      </a:accent4>
      <a:accent5>
        <a:srgbClr val="F26522"/>
      </a:accent5>
      <a:accent6>
        <a:srgbClr val="828181"/>
      </a:accent6>
      <a:hlink>
        <a:srgbClr val="FF6699"/>
      </a:hlink>
      <a:folHlink>
        <a:srgbClr val="CC006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 algn="just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Efnahagssvid" id="{63F37489-B5D9-4AEC-AC0F-BDC4D6ADB422}" vid="{E0790087-B664-4966-968F-8AB98C4D8B5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42F2260C6D5B46B505BDAEF2DCA57D" ma:contentTypeVersion="2" ma:contentTypeDescription="Create a new document." ma:contentTypeScope="" ma:versionID="2ef6d5856d610682c97df2fa46dd1f5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705c6822518e199c10473eef7efe35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FC70285-4483-4A28-98B1-F541CC8185AD}">
  <ds:schemaRefs>
    <ds:schemaRef ds:uri="http://www.w3.org/XML/1998/namespace"/>
    <ds:schemaRef ds:uri="d96c35c8-f833-4bf4-8f8a-a989cf173995"/>
    <ds:schemaRef ds:uri="http://schemas.microsoft.com/office/2006/documentManagement/types"/>
    <ds:schemaRef ds:uri="http://purl.org/dc/dcmitype/"/>
    <ds:schemaRef ds:uri="d5c54a6e-dd70-4e51-a756-02c32041bf60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BAE818C-86CC-4F29-B0F7-85F4C3C2413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7058DC-2E55-4BBF-8B3F-AB8E888B49CA}"/>
</file>

<file path=docProps/app.xml><?xml version="1.0" encoding="utf-8"?>
<Properties xmlns="http://schemas.openxmlformats.org/officeDocument/2006/extended-properties" xmlns:vt="http://schemas.openxmlformats.org/officeDocument/2006/docPropsVTypes">
  <Template>Efnahagssvid</Template>
  <TotalTime>319274</TotalTime>
  <Words>2862</Words>
  <Application>Microsoft Office PowerPoint</Application>
  <PresentationFormat>Widescreen</PresentationFormat>
  <Paragraphs>554</Paragraphs>
  <Slides>29</Slides>
  <Notes>17</Notes>
  <HiddenSlides>3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8" baseType="lpstr">
      <vt:lpstr>ＭＳ Ｐゴシック</vt:lpstr>
      <vt:lpstr>Aaux ProMedium</vt:lpstr>
      <vt:lpstr>Arial</vt:lpstr>
      <vt:lpstr>Calibri</vt:lpstr>
      <vt:lpstr>Calibri Light</vt:lpstr>
      <vt:lpstr>lulo-clean-w01-one-bold</vt:lpstr>
      <vt:lpstr>Wingdings</vt:lpstr>
      <vt:lpstr>Efnahagssvið SA</vt:lpstr>
      <vt:lpstr>think-cell Slide</vt:lpstr>
      <vt:lpstr>Lífskjarasamningurinn 2019-2022</vt:lpstr>
      <vt:lpstr>Samsett lausn sem byggir á samstarfi verklýðshreyfingar, atvinnurekenda og stjórnvalda</vt:lpstr>
      <vt:lpstr>Megininntak: Tryggja kjarabætur lágtekjuhópa og skapa skilyrði fyrir lækkun vaxta</vt:lpstr>
      <vt:lpstr>Samsett nálgun í fjögurra ára lífskjarasamningi</vt:lpstr>
      <vt:lpstr>Samsett nálgun í fjögurra ára lífskjarasamningi</vt:lpstr>
      <vt:lpstr>Lífskjarasamningurinn er grundvallaður á krónutöluhækkunum </vt:lpstr>
      <vt:lpstr>Sviðsmyndir lífskjarasamnings: Hagvaxtaraukinn tryggir hlut launþega í verðmætasköpun þjóðarinnar</vt:lpstr>
      <vt:lpstr>Launahækkanir samningsins eru í formi krónutöluhækkana á kauptaxta og föst mánaðarlaun</vt:lpstr>
      <vt:lpstr>Launaþróunartrygging veitir taxtahópum hlutdeild í launaskriði á almennum markaði</vt:lpstr>
      <vt:lpstr>Samsett nálgun í fjögurra ára lífskjarasamningi</vt:lpstr>
      <vt:lpstr>Hrein stytting á vinnuviku verslunarmann um 45 mínútur á viku</vt:lpstr>
      <vt:lpstr>Tíminn er dýrmætur: Sveigjanlegri og styttri vinnudagur gerir launafólki kleift að samræma vinnu og einkalíf betur en áður</vt:lpstr>
      <vt:lpstr>Breytingar á deiltölum</vt:lpstr>
      <vt:lpstr>Aðrar breytingar á kjarasamningi</vt:lpstr>
      <vt:lpstr>Nýr samningur fyrir starfsfólk í ferðaþjónustu</vt:lpstr>
      <vt:lpstr>Samsett nálgun í fjögurra ára lífskjarasamningi</vt:lpstr>
      <vt:lpstr>Aðgerðir stjórnvalda: Skattar lækkaðir með sérstaka áherslu á tekjulága hópa</vt:lpstr>
      <vt:lpstr>Aðgerðir stjórnvalda: Barnabætur hækkaðar og skerðingarmörk þeirra hækki</vt:lpstr>
      <vt:lpstr>Aðrar aðgerðir stjórnvalda til að liðka fyrir kjarasamningsgerð</vt:lpstr>
      <vt:lpstr>Samantekt: Skattalækkun og aðrar aðgerðir stjórnvalda eru lykilatriði til að liðka fyrir gerð kjarasamninga</vt:lpstr>
      <vt:lpstr>Samsett nálgun í fjögurra ára lífskjarasamningi</vt:lpstr>
      <vt:lpstr>Meginmarkmið lífskjarasamnings er að skapa hér skilyrði fyrir lækkun vaxta</vt:lpstr>
      <vt:lpstr>Lækkun vaxta eykur ráðstöfunartekjur heimila, stuðlar að áframhaldandi hagvexti og fjölgun starfa</vt:lpstr>
      <vt:lpstr>Kjarasamningar eru risavaxin breyta í efnahagslegu tilliti</vt:lpstr>
      <vt:lpstr>Mikilvægt er að standa vörð um kaupmátt launa, tryggja stöðugleika og stuðla að lægri vöxtum til frambúðar</vt:lpstr>
      <vt:lpstr>Sýnidæmi: Möguleg áhrif 1% vaxtalækkunar á ráðstöfunartekjur lág- og meðaltekjufólks</vt:lpstr>
      <vt:lpstr>Lífskjarasamningurinn er samsett lausn sem byggir á samstarfi verklýðshreyfingar, atvinnurekenda og stjórnvalda</vt:lpstr>
      <vt:lpstr>Lífskjarasamningur styður við sterkan viðnámsþrótt íslenska hagkerfisins og skapar skilyrði til áframhaldandi hagvaxtar og lægra vaxtastigs.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yggvi Másson</dc:creator>
  <cp:lastModifiedBy>Stefán Sveinbjörnsson</cp:lastModifiedBy>
  <cp:revision>1943</cp:revision>
  <cp:lastPrinted>2017-09-18T13:10:21Z</cp:lastPrinted>
  <dcterms:created xsi:type="dcterms:W3CDTF">2017-01-18T10:20:09Z</dcterms:created>
  <dcterms:modified xsi:type="dcterms:W3CDTF">2019-04-08T10:5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42F2260C6D5B46B505BDAEF2DCA57D</vt:lpwstr>
  </property>
</Properties>
</file>